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 id="2147483684" r:id="rId3"/>
    <p:sldMasterId id="2147483710" r:id="rId4"/>
    <p:sldMasterId id="2147483736" r:id="rId5"/>
    <p:sldMasterId id="2147483751" r:id="rId6"/>
    <p:sldMasterId id="2147483775" r:id="rId7"/>
    <p:sldMasterId id="2147483792" r:id="rId8"/>
    <p:sldMasterId id="2147483807" r:id="rId9"/>
  </p:sldMasterIdLst>
  <p:notesMasterIdLst>
    <p:notesMasterId r:id="rId18"/>
  </p:notesMasterIdLst>
  <p:handoutMasterIdLst>
    <p:handoutMasterId r:id="rId19"/>
  </p:handoutMasterIdLst>
  <p:sldIdLst>
    <p:sldId id="288" r:id="rId10"/>
    <p:sldId id="335" r:id="rId11"/>
    <p:sldId id="337" r:id="rId12"/>
    <p:sldId id="341" r:id="rId13"/>
    <p:sldId id="339" r:id="rId14"/>
    <p:sldId id="342" r:id="rId15"/>
    <p:sldId id="336" r:id="rId16"/>
    <p:sldId id="338" r:id="rId17"/>
  </p:sldIdLst>
  <p:sldSz cx="12192000" cy="6858000"/>
  <p:notesSz cx="6805613" cy="99441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7B88F"/>
    <a:srgbClr val="81A8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4660"/>
  </p:normalViewPr>
  <p:slideViewPr>
    <p:cSldViewPr snapToGrid="0">
      <p:cViewPr varScale="1">
        <p:scale>
          <a:sx n="83" d="100"/>
          <a:sy n="83" d="100"/>
        </p:scale>
        <p:origin x="595" y="48"/>
      </p:cViewPr>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slideMaster" Target="slideMasters/slideMaster2.xml"/><Relationship Id="rId21" Type="http://schemas.openxmlformats.org/officeDocument/2006/relationships/viewProps" Target="viewProps.xml"/><Relationship Id="rId7" Type="http://schemas.openxmlformats.org/officeDocument/2006/relationships/slideMaster" Target="slideMasters/slideMaster6.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slideMaster" Target="slideMasters/slideMaster1.xml"/><Relationship Id="rId16" Type="http://schemas.openxmlformats.org/officeDocument/2006/relationships/slide" Target="slides/slide7.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2.xml"/><Relationship Id="rId5" Type="http://schemas.openxmlformats.org/officeDocument/2006/relationships/slideMaster" Target="slideMasters/slideMaster4.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5.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ata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image" Target="../media/image55.png"/></Relationships>
</file>

<file path=ppt/diagrams/_rels/data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ata4.xml.rels><?xml version="1.0" encoding="UTF-8" standalone="yes"?>
<Relationships xmlns="http://schemas.openxmlformats.org/package/2006/relationships"><Relationship Id="rId1" Type="http://schemas.openxmlformats.org/officeDocument/2006/relationships/image" Target="../media/image57.png"/></Relationships>
</file>

<file path=ppt/diagrams/_rels/data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rawing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image" Target="../media/image55.png"/></Relationships>
</file>

<file path=ppt/diagrams/_rels/drawing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rawing4.xml.rels><?xml version="1.0" encoding="UTF-8" standalone="yes"?>
<Relationships xmlns="http://schemas.openxmlformats.org/package/2006/relationships"><Relationship Id="rId1" Type="http://schemas.openxmlformats.org/officeDocument/2006/relationships/image" Target="../media/image57.png"/></Relationships>
</file>

<file path=ppt/diagrams/_rels/drawing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C6902B-117B-406D-B1BB-A2BC3E1C7443}" type="doc">
      <dgm:prSet loTypeId="urn:microsoft.com/office/officeart/2005/8/layout/pList2" loCatId="list" qsTypeId="urn:microsoft.com/office/officeart/2005/8/quickstyle/simple1" qsCatId="simple" csTypeId="urn:microsoft.com/office/officeart/2005/8/colors/accent1_2" csCatId="accent1" phldr="1"/>
      <dgm:spPr/>
    </dgm:pt>
    <dgm:pt modelId="{BDCCEC16-E555-4370-B34D-5442F320E573}">
      <dgm:prSet phldrT="[Tekst]"/>
      <dgm:spPr/>
      <dgm:t>
        <a:bodyPr/>
        <a:lstStyle/>
        <a:p>
          <a:pPr algn="ctr"/>
          <a:r>
            <a:rPr lang="da-DK" sz="1200" b="1" dirty="0" smtClean="0"/>
            <a:t>Sergent</a:t>
          </a:r>
          <a:endParaRPr lang="da-DK" sz="1200" b="1" dirty="0"/>
        </a:p>
      </dgm:t>
    </dgm:pt>
    <dgm:pt modelId="{F93529C7-5C1B-4543-B88D-8ECCE999692B}" type="parTrans" cxnId="{9FBAAFC0-8D9F-4A81-A0E1-25633C4522A4}">
      <dgm:prSet/>
      <dgm:spPr/>
      <dgm:t>
        <a:bodyPr/>
        <a:lstStyle/>
        <a:p>
          <a:endParaRPr lang="da-DK"/>
        </a:p>
      </dgm:t>
    </dgm:pt>
    <dgm:pt modelId="{98852CBE-5715-466B-AD8F-E12ACF097BE1}" type="sibTrans" cxnId="{9FBAAFC0-8D9F-4A81-A0E1-25633C4522A4}">
      <dgm:prSet/>
      <dgm:spPr/>
      <dgm:t>
        <a:bodyPr/>
        <a:lstStyle/>
        <a:p>
          <a:endParaRPr lang="da-DK"/>
        </a:p>
      </dgm:t>
    </dgm:pt>
    <dgm:pt modelId="{54F7B543-6981-4C3B-9321-57174ECCB5D4}">
      <dgm:prSet phldrT="[Tekst]"/>
      <dgm:spPr/>
      <dgm:t>
        <a:bodyPr/>
        <a:lstStyle/>
        <a:p>
          <a:pPr algn="ctr"/>
          <a:r>
            <a:rPr lang="da-DK" sz="1200" b="1" dirty="0" smtClean="0"/>
            <a:t>Oversergent</a:t>
          </a:r>
          <a:endParaRPr lang="da-DK" sz="1200" b="1" dirty="0"/>
        </a:p>
      </dgm:t>
    </dgm:pt>
    <dgm:pt modelId="{FE46FA80-3F7F-4376-AA3E-6F2776B952FF}" type="parTrans" cxnId="{8A6B8034-17CF-4852-B2CD-852302F1F9E2}">
      <dgm:prSet/>
      <dgm:spPr/>
      <dgm:t>
        <a:bodyPr/>
        <a:lstStyle/>
        <a:p>
          <a:endParaRPr lang="da-DK"/>
        </a:p>
      </dgm:t>
    </dgm:pt>
    <dgm:pt modelId="{4649C63C-93AB-4F9D-BC5D-3F96A02CEF40}" type="sibTrans" cxnId="{8A6B8034-17CF-4852-B2CD-852302F1F9E2}">
      <dgm:prSet/>
      <dgm:spPr/>
      <dgm:t>
        <a:bodyPr/>
        <a:lstStyle/>
        <a:p>
          <a:endParaRPr lang="da-DK"/>
        </a:p>
      </dgm:t>
    </dgm:pt>
    <dgm:pt modelId="{16E69697-452B-4937-B38E-A603C04687D8}">
      <dgm:prSet phldrT="[Tekst]"/>
      <dgm:spPr/>
      <dgm:t>
        <a:bodyPr/>
        <a:lstStyle/>
        <a:p>
          <a:r>
            <a:rPr lang="da-DK" sz="1200" b="1" dirty="0" smtClean="0"/>
            <a:t>Chefsergent</a:t>
          </a:r>
          <a:endParaRPr lang="da-DK" sz="1200" b="1" dirty="0"/>
        </a:p>
      </dgm:t>
    </dgm:pt>
    <dgm:pt modelId="{6A0EF079-E2BC-494A-AD99-8E4A6C9EE451}" type="parTrans" cxnId="{C1218887-6921-4448-8C25-682C82E345E0}">
      <dgm:prSet/>
      <dgm:spPr/>
      <dgm:t>
        <a:bodyPr/>
        <a:lstStyle/>
        <a:p>
          <a:endParaRPr lang="da-DK"/>
        </a:p>
      </dgm:t>
    </dgm:pt>
    <dgm:pt modelId="{8495628B-B758-4878-8E1F-F7E1E3AFF3F7}" type="sibTrans" cxnId="{C1218887-6921-4448-8C25-682C82E345E0}">
      <dgm:prSet/>
      <dgm:spPr/>
      <dgm:t>
        <a:bodyPr/>
        <a:lstStyle/>
        <a:p>
          <a:endParaRPr lang="da-DK"/>
        </a:p>
      </dgm:t>
    </dgm:pt>
    <dgm:pt modelId="{616CB614-7001-4B74-BA5A-9A9AFEA71649}">
      <dgm:prSet phldrT="[Tekst]" custT="1"/>
      <dgm:spPr/>
      <dgm:t>
        <a:bodyPr/>
        <a:lstStyle/>
        <a:p>
          <a:pPr algn="l"/>
          <a:r>
            <a:rPr lang="da-DK" sz="1100" u="sng" dirty="0" smtClean="0"/>
            <a:t>Føring</a:t>
          </a:r>
          <a:endParaRPr lang="da-DK" sz="1100" u="sng" dirty="0"/>
        </a:p>
      </dgm:t>
    </dgm:pt>
    <dgm:pt modelId="{F3711F94-4901-4E2A-90CA-AFB3CC79E8F4}" type="parTrans" cxnId="{83C48663-5885-41A2-8CBA-23FD43DDD45B}">
      <dgm:prSet/>
      <dgm:spPr/>
      <dgm:t>
        <a:bodyPr/>
        <a:lstStyle/>
        <a:p>
          <a:endParaRPr lang="da-DK"/>
        </a:p>
      </dgm:t>
    </dgm:pt>
    <dgm:pt modelId="{396E570A-DBAE-446A-A338-CAD39ADF0B69}" type="sibTrans" cxnId="{83C48663-5885-41A2-8CBA-23FD43DDD45B}">
      <dgm:prSet/>
      <dgm:spPr/>
      <dgm:t>
        <a:bodyPr/>
        <a:lstStyle/>
        <a:p>
          <a:endParaRPr lang="da-DK"/>
        </a:p>
      </dgm:t>
    </dgm:pt>
    <dgm:pt modelId="{C5593735-1862-4093-86B8-DE3961E99AB2}">
      <dgm:prSet phldrT="[Tekst]" custT="1"/>
      <dgm:spPr/>
      <dgm:t>
        <a:bodyPr/>
        <a:lstStyle/>
        <a:p>
          <a:pPr algn="l"/>
          <a:r>
            <a:rPr lang="da-DK" sz="1100" u="sng" dirty="0" smtClean="0"/>
            <a:t>Ledelse</a:t>
          </a:r>
          <a:endParaRPr lang="da-DK" sz="1100" u="sng" dirty="0"/>
        </a:p>
      </dgm:t>
    </dgm:pt>
    <dgm:pt modelId="{B885E1C5-7F80-4C16-9446-D8FB941241C0}" type="parTrans" cxnId="{180567CB-396E-44F1-B992-E3CB4A40A772}">
      <dgm:prSet/>
      <dgm:spPr/>
      <dgm:t>
        <a:bodyPr/>
        <a:lstStyle/>
        <a:p>
          <a:endParaRPr lang="da-DK"/>
        </a:p>
      </dgm:t>
    </dgm:pt>
    <dgm:pt modelId="{37039AB7-E0CE-4C36-80A8-67D649B0720D}" type="sibTrans" cxnId="{180567CB-396E-44F1-B992-E3CB4A40A772}">
      <dgm:prSet/>
      <dgm:spPr/>
      <dgm:t>
        <a:bodyPr/>
        <a:lstStyle/>
        <a:p>
          <a:endParaRPr lang="da-DK"/>
        </a:p>
      </dgm:t>
    </dgm:pt>
    <dgm:pt modelId="{C3F6C105-28AD-486E-A1DF-D63F663553AD}">
      <dgm:prSet phldrT="[Tekst]" custT="1"/>
      <dgm:spPr/>
      <dgm:t>
        <a:bodyPr/>
        <a:lstStyle/>
        <a:p>
          <a:pPr algn="l"/>
          <a:r>
            <a:rPr lang="da-DK" sz="1100" u="sng" dirty="0" smtClean="0"/>
            <a:t>Uddannelse</a:t>
          </a:r>
          <a:endParaRPr lang="da-DK" sz="1100" u="sng" dirty="0"/>
        </a:p>
      </dgm:t>
    </dgm:pt>
    <dgm:pt modelId="{6FF77C9F-4E8D-421F-A1D6-AD1F294D3133}" type="parTrans" cxnId="{AF711DEF-AB41-448E-8090-209894FB87DD}">
      <dgm:prSet/>
      <dgm:spPr/>
      <dgm:t>
        <a:bodyPr/>
        <a:lstStyle/>
        <a:p>
          <a:endParaRPr lang="da-DK"/>
        </a:p>
      </dgm:t>
    </dgm:pt>
    <dgm:pt modelId="{DA5914A8-4C0C-4B52-B1AA-61E78CD70300}" type="sibTrans" cxnId="{AF711DEF-AB41-448E-8090-209894FB87DD}">
      <dgm:prSet/>
      <dgm:spPr/>
      <dgm:t>
        <a:bodyPr/>
        <a:lstStyle/>
        <a:p>
          <a:endParaRPr lang="da-DK"/>
        </a:p>
      </dgm:t>
    </dgm:pt>
    <dgm:pt modelId="{EBCB2525-4071-4AE0-9139-D07F634F9937}">
      <dgm:prSet phldrT="[Tekst]" custT="1"/>
      <dgm:spPr/>
      <dgm:t>
        <a:bodyPr/>
        <a:lstStyle/>
        <a:p>
          <a:pPr algn="l"/>
          <a:r>
            <a:rPr lang="da-DK" sz="1100" dirty="0" smtClean="0"/>
            <a:t>GRP </a:t>
          </a:r>
          <a:r>
            <a:rPr lang="da-DK" sz="1100" dirty="0" smtClean="0">
              <a:sym typeface="Wingdings" panose="05000000000000000000" pitchFamily="2" charset="2"/>
            </a:rPr>
            <a:t>Krise/krig</a:t>
          </a:r>
          <a:endParaRPr lang="da-DK" sz="1100" dirty="0"/>
        </a:p>
      </dgm:t>
    </dgm:pt>
    <dgm:pt modelId="{1EDE7A3E-257F-4A13-9060-3800376428BA}" type="parTrans" cxnId="{3A481BAC-30CD-4714-8ECC-F47CBF6F09D5}">
      <dgm:prSet/>
      <dgm:spPr/>
      <dgm:t>
        <a:bodyPr/>
        <a:lstStyle/>
        <a:p>
          <a:endParaRPr lang="da-DK"/>
        </a:p>
      </dgm:t>
    </dgm:pt>
    <dgm:pt modelId="{752EBA0B-69EA-4855-9808-ED787DF6BC8E}" type="sibTrans" cxnId="{3A481BAC-30CD-4714-8ECC-F47CBF6F09D5}">
      <dgm:prSet/>
      <dgm:spPr/>
      <dgm:t>
        <a:bodyPr/>
        <a:lstStyle/>
        <a:p>
          <a:endParaRPr lang="da-DK"/>
        </a:p>
      </dgm:t>
    </dgm:pt>
    <dgm:pt modelId="{65608C43-BAEA-4322-8DE8-15D64B1A515B}">
      <dgm:prSet phldrT="[Tekst]" custT="1"/>
      <dgm:spPr/>
      <dgm:t>
        <a:bodyPr/>
        <a:lstStyle/>
        <a:p>
          <a:pPr algn="l"/>
          <a:r>
            <a:rPr lang="da-DK" sz="1100" dirty="0" smtClean="0"/>
            <a:t>Ledelsesgrundlag i rammen af GRP</a:t>
          </a:r>
          <a:endParaRPr lang="da-DK" sz="1100" dirty="0"/>
        </a:p>
      </dgm:t>
    </dgm:pt>
    <dgm:pt modelId="{EFE6C41B-E302-4AA8-9F94-350ED72A481F}" type="parTrans" cxnId="{8DCC4D0C-EC60-4C7A-AEDF-8481B7A69604}">
      <dgm:prSet/>
      <dgm:spPr/>
      <dgm:t>
        <a:bodyPr/>
        <a:lstStyle/>
        <a:p>
          <a:endParaRPr lang="da-DK"/>
        </a:p>
      </dgm:t>
    </dgm:pt>
    <dgm:pt modelId="{28EC4513-A62F-4052-B5FB-525857E3A519}" type="sibTrans" cxnId="{8DCC4D0C-EC60-4C7A-AEDF-8481B7A69604}">
      <dgm:prSet/>
      <dgm:spPr/>
      <dgm:t>
        <a:bodyPr/>
        <a:lstStyle/>
        <a:p>
          <a:endParaRPr lang="da-DK"/>
        </a:p>
      </dgm:t>
    </dgm:pt>
    <dgm:pt modelId="{DB590001-5093-4C97-B2C7-3038D8B07A19}">
      <dgm:prSet phldrT="[Tekst]" custT="1"/>
      <dgm:spPr/>
      <dgm:t>
        <a:bodyPr/>
        <a:lstStyle/>
        <a:p>
          <a:pPr algn="l"/>
          <a:r>
            <a:rPr lang="da-DK" sz="1100" u="none" dirty="0" smtClean="0"/>
            <a:t>GSU/ALM</a:t>
          </a:r>
          <a:endParaRPr lang="da-DK" sz="1100" u="none" dirty="0"/>
        </a:p>
      </dgm:t>
    </dgm:pt>
    <dgm:pt modelId="{47CB0603-43E0-4E4A-995D-64E9A68F2D5C}" type="parTrans" cxnId="{AFCB0ED8-D2F2-4DBA-95A1-D1FBC7116FBD}">
      <dgm:prSet/>
      <dgm:spPr/>
      <dgm:t>
        <a:bodyPr/>
        <a:lstStyle/>
        <a:p>
          <a:endParaRPr lang="da-DK"/>
        </a:p>
      </dgm:t>
    </dgm:pt>
    <dgm:pt modelId="{853EEB83-647D-4BF6-989F-DC55E0905F59}" type="sibTrans" cxnId="{AFCB0ED8-D2F2-4DBA-95A1-D1FBC7116FBD}">
      <dgm:prSet/>
      <dgm:spPr/>
      <dgm:t>
        <a:bodyPr/>
        <a:lstStyle/>
        <a:p>
          <a:endParaRPr lang="da-DK"/>
        </a:p>
      </dgm:t>
    </dgm:pt>
    <dgm:pt modelId="{7540EBED-EFBD-42E2-B6AB-A7E4B806BDB2}">
      <dgm:prSet phldrT="[Tekst]" custT="1"/>
      <dgm:spPr/>
      <dgm:t>
        <a:bodyPr/>
        <a:lstStyle/>
        <a:p>
          <a:pPr algn="l"/>
          <a:endParaRPr lang="da-DK" sz="1100" u="none" dirty="0"/>
        </a:p>
      </dgm:t>
    </dgm:pt>
    <dgm:pt modelId="{9EC2EB14-F658-4E49-80EB-31CBD240B78B}" type="parTrans" cxnId="{C210DCD5-EE49-414E-BD88-AE95E8DD960B}">
      <dgm:prSet/>
      <dgm:spPr/>
      <dgm:t>
        <a:bodyPr/>
        <a:lstStyle/>
        <a:p>
          <a:endParaRPr lang="da-DK"/>
        </a:p>
      </dgm:t>
    </dgm:pt>
    <dgm:pt modelId="{6394A65B-0E74-410F-A176-7C70540F3F66}" type="sibTrans" cxnId="{C210DCD5-EE49-414E-BD88-AE95E8DD960B}">
      <dgm:prSet/>
      <dgm:spPr/>
      <dgm:t>
        <a:bodyPr/>
        <a:lstStyle/>
        <a:p>
          <a:endParaRPr lang="da-DK"/>
        </a:p>
      </dgm:t>
    </dgm:pt>
    <dgm:pt modelId="{E71CB147-02D6-47A9-8E47-4A097A4AE10F}">
      <dgm:prSet phldrT="[Tekst]" custT="1"/>
      <dgm:spPr/>
      <dgm:t>
        <a:bodyPr/>
        <a:lstStyle/>
        <a:p>
          <a:pPr algn="l"/>
          <a:r>
            <a:rPr lang="da-DK" sz="1100" dirty="0" smtClean="0"/>
            <a:t>DEL </a:t>
          </a:r>
          <a:r>
            <a:rPr lang="da-DK" sz="1100" dirty="0" smtClean="0">
              <a:sym typeface="Wingdings" panose="05000000000000000000" pitchFamily="2" charset="2"/>
            </a:rPr>
            <a:t>Krise/krig</a:t>
          </a:r>
          <a:endParaRPr lang="da-DK" sz="1100" dirty="0"/>
        </a:p>
      </dgm:t>
    </dgm:pt>
    <dgm:pt modelId="{34A4FD02-F901-455D-B395-CB2EEC7CC1E3}" type="parTrans" cxnId="{0A708DBD-A1D1-47F7-B672-01A7DCC1A1C7}">
      <dgm:prSet/>
      <dgm:spPr/>
      <dgm:t>
        <a:bodyPr/>
        <a:lstStyle/>
        <a:p>
          <a:endParaRPr lang="da-DK"/>
        </a:p>
      </dgm:t>
    </dgm:pt>
    <dgm:pt modelId="{1FD2D113-E6A9-48F8-AD14-4E3511D9228E}" type="sibTrans" cxnId="{0A708DBD-A1D1-47F7-B672-01A7DCC1A1C7}">
      <dgm:prSet/>
      <dgm:spPr/>
      <dgm:t>
        <a:bodyPr/>
        <a:lstStyle/>
        <a:p>
          <a:endParaRPr lang="da-DK"/>
        </a:p>
      </dgm:t>
    </dgm:pt>
    <dgm:pt modelId="{FC81402C-CF09-41EF-A621-DF4AC34DB796}">
      <dgm:prSet phldrT="[Tekst]" custT="1"/>
      <dgm:spPr/>
      <dgm:t>
        <a:bodyPr/>
        <a:lstStyle/>
        <a:p>
          <a:pPr algn="l"/>
          <a:r>
            <a:rPr lang="da-DK" sz="1100" u="sng" dirty="0" smtClean="0"/>
            <a:t>Ledelse</a:t>
          </a:r>
          <a:endParaRPr lang="da-DK" sz="1100" u="sng" dirty="0"/>
        </a:p>
      </dgm:t>
    </dgm:pt>
    <dgm:pt modelId="{8530A87E-F14B-467B-AF19-61AEC6F76C36}" type="parTrans" cxnId="{0C8C0BFF-AA47-4BF9-B3C0-EEC4A5D43685}">
      <dgm:prSet/>
      <dgm:spPr/>
      <dgm:t>
        <a:bodyPr/>
        <a:lstStyle/>
        <a:p>
          <a:endParaRPr lang="da-DK"/>
        </a:p>
      </dgm:t>
    </dgm:pt>
    <dgm:pt modelId="{3F5D2520-F4A5-4EB5-B16F-A2E28FC2ADDA}" type="sibTrans" cxnId="{0C8C0BFF-AA47-4BF9-B3C0-EEC4A5D43685}">
      <dgm:prSet/>
      <dgm:spPr/>
      <dgm:t>
        <a:bodyPr/>
        <a:lstStyle/>
        <a:p>
          <a:endParaRPr lang="da-DK"/>
        </a:p>
      </dgm:t>
    </dgm:pt>
    <dgm:pt modelId="{E68387FB-C6DA-4448-80C0-3E52B134C216}">
      <dgm:prSet phldrT="[Tekst]" custT="1"/>
      <dgm:spPr/>
      <dgm:t>
        <a:bodyPr/>
        <a:lstStyle/>
        <a:p>
          <a:pPr algn="l"/>
          <a:r>
            <a:rPr lang="da-DK" sz="1100" dirty="0" smtClean="0"/>
            <a:t>Ledelsesgrundlag i rammen af DEL</a:t>
          </a:r>
          <a:endParaRPr lang="da-DK" sz="1100" dirty="0"/>
        </a:p>
      </dgm:t>
    </dgm:pt>
    <dgm:pt modelId="{0EFD18E5-A062-448F-9AE2-A1DAFC380D78}" type="parTrans" cxnId="{DB61DC00-80C8-4A1B-BEEC-BDEBFF81E2F7}">
      <dgm:prSet/>
      <dgm:spPr/>
      <dgm:t>
        <a:bodyPr/>
        <a:lstStyle/>
        <a:p>
          <a:endParaRPr lang="da-DK"/>
        </a:p>
      </dgm:t>
    </dgm:pt>
    <dgm:pt modelId="{7DB934C0-D47E-46EC-BE17-06B0404B5663}" type="sibTrans" cxnId="{DB61DC00-80C8-4A1B-BEEC-BDEBFF81E2F7}">
      <dgm:prSet/>
      <dgm:spPr/>
      <dgm:t>
        <a:bodyPr/>
        <a:lstStyle/>
        <a:p>
          <a:endParaRPr lang="da-DK"/>
        </a:p>
      </dgm:t>
    </dgm:pt>
    <dgm:pt modelId="{3FC69CAD-E6CE-49C1-9853-A6518733D742}">
      <dgm:prSet phldrT="[Tekst]" custT="1"/>
      <dgm:spPr/>
      <dgm:t>
        <a:bodyPr/>
        <a:lstStyle/>
        <a:p>
          <a:pPr algn="l"/>
          <a:r>
            <a:rPr lang="da-DK" sz="1100" u="sng" dirty="0" smtClean="0"/>
            <a:t>Uddannelse</a:t>
          </a:r>
          <a:endParaRPr lang="da-DK" sz="1100" u="sng" dirty="0"/>
        </a:p>
      </dgm:t>
    </dgm:pt>
    <dgm:pt modelId="{F4D5121E-3F6F-4D07-8DA9-7591AEFB7F05}" type="parTrans" cxnId="{78916AD5-6053-4B2F-8004-2C3443F73E45}">
      <dgm:prSet/>
      <dgm:spPr/>
      <dgm:t>
        <a:bodyPr/>
        <a:lstStyle/>
        <a:p>
          <a:endParaRPr lang="da-DK"/>
        </a:p>
      </dgm:t>
    </dgm:pt>
    <dgm:pt modelId="{B9E1923F-8ABB-4BF3-944C-C561A9A00D08}" type="sibTrans" cxnId="{78916AD5-6053-4B2F-8004-2C3443F73E45}">
      <dgm:prSet/>
      <dgm:spPr/>
      <dgm:t>
        <a:bodyPr/>
        <a:lstStyle/>
        <a:p>
          <a:endParaRPr lang="da-DK"/>
        </a:p>
      </dgm:t>
    </dgm:pt>
    <dgm:pt modelId="{7D42D557-3871-4643-AA33-CDC834252D3F}">
      <dgm:prSet phldrT="[Tekst]" custT="1"/>
      <dgm:spPr/>
      <dgm:t>
        <a:bodyPr/>
        <a:lstStyle/>
        <a:p>
          <a:pPr algn="l"/>
          <a:r>
            <a:rPr lang="da-DK" sz="1100" u="none" dirty="0" smtClean="0"/>
            <a:t>OSU</a:t>
          </a:r>
          <a:endParaRPr lang="da-DK" sz="1100" u="none" dirty="0"/>
        </a:p>
      </dgm:t>
    </dgm:pt>
    <dgm:pt modelId="{6847641F-42AA-424F-9938-DD64C350C592}" type="parTrans" cxnId="{7C697779-B294-46BD-904D-E02670906785}">
      <dgm:prSet/>
      <dgm:spPr/>
      <dgm:t>
        <a:bodyPr/>
        <a:lstStyle/>
        <a:p>
          <a:endParaRPr lang="da-DK"/>
        </a:p>
      </dgm:t>
    </dgm:pt>
    <dgm:pt modelId="{1F441A91-60F2-4B63-9384-F5595790FECE}" type="sibTrans" cxnId="{7C697779-B294-46BD-904D-E02670906785}">
      <dgm:prSet/>
      <dgm:spPr/>
      <dgm:t>
        <a:bodyPr/>
        <a:lstStyle/>
        <a:p>
          <a:endParaRPr lang="da-DK"/>
        </a:p>
      </dgm:t>
    </dgm:pt>
    <dgm:pt modelId="{58915889-04EE-443C-B608-15BF9BE5625C}">
      <dgm:prSet phldrT="[Tekst]" custT="1"/>
      <dgm:spPr/>
      <dgm:t>
        <a:bodyPr/>
        <a:lstStyle/>
        <a:p>
          <a:pPr algn="l"/>
          <a:r>
            <a:rPr lang="da-DK" sz="1100" u="none" dirty="0" smtClean="0"/>
            <a:t>MAU</a:t>
          </a:r>
          <a:endParaRPr lang="da-DK" sz="1100" u="none" dirty="0"/>
        </a:p>
      </dgm:t>
    </dgm:pt>
    <dgm:pt modelId="{CD130890-BE7E-42E8-9D3C-A75B9D2929E6}" type="parTrans" cxnId="{82DCBBFD-7866-4912-8AD7-425E8E7B1DF1}">
      <dgm:prSet/>
      <dgm:spPr/>
      <dgm:t>
        <a:bodyPr/>
        <a:lstStyle/>
        <a:p>
          <a:endParaRPr lang="da-DK"/>
        </a:p>
      </dgm:t>
    </dgm:pt>
    <dgm:pt modelId="{5DC6A5D9-197F-4C98-9D09-DFFC42E0C980}" type="sibTrans" cxnId="{82DCBBFD-7866-4912-8AD7-425E8E7B1DF1}">
      <dgm:prSet/>
      <dgm:spPr/>
      <dgm:t>
        <a:bodyPr/>
        <a:lstStyle/>
        <a:p>
          <a:endParaRPr lang="da-DK"/>
        </a:p>
      </dgm:t>
    </dgm:pt>
    <dgm:pt modelId="{2DF5845F-E145-43F2-A171-DC10421FC9A3}">
      <dgm:prSet phldrT="[Tekst]"/>
      <dgm:spPr/>
      <dgm:t>
        <a:bodyPr/>
        <a:lstStyle/>
        <a:p>
          <a:pPr algn="ctr"/>
          <a:r>
            <a:rPr lang="da-DK" sz="1400" b="1" dirty="0" smtClean="0"/>
            <a:t>Seniorsergent</a:t>
          </a:r>
          <a:endParaRPr lang="da-DK" sz="1400" dirty="0"/>
        </a:p>
      </dgm:t>
    </dgm:pt>
    <dgm:pt modelId="{3B1AB83F-5649-4D3D-B001-46BDB2C109FC}" type="parTrans" cxnId="{6FF73411-CFD3-4628-B784-585D94C687F0}">
      <dgm:prSet/>
      <dgm:spPr/>
      <dgm:t>
        <a:bodyPr/>
        <a:lstStyle/>
        <a:p>
          <a:endParaRPr lang="da-DK"/>
        </a:p>
      </dgm:t>
    </dgm:pt>
    <dgm:pt modelId="{EDD4BEE3-4CCE-4620-B6D6-B9CF0BD1A119}" type="sibTrans" cxnId="{6FF73411-CFD3-4628-B784-585D94C687F0}">
      <dgm:prSet/>
      <dgm:spPr/>
      <dgm:t>
        <a:bodyPr/>
        <a:lstStyle/>
        <a:p>
          <a:endParaRPr lang="da-DK"/>
        </a:p>
      </dgm:t>
    </dgm:pt>
    <dgm:pt modelId="{74FA0E9D-45D5-4B5F-A9E4-12C5FFC3C7B5}">
      <dgm:prSet phldrT="[Tekst]" custT="1"/>
      <dgm:spPr/>
      <dgm:t>
        <a:bodyPr/>
        <a:lstStyle/>
        <a:p>
          <a:pPr algn="l"/>
          <a:r>
            <a:rPr lang="da-DK" sz="1100" u="sng" dirty="0" smtClean="0"/>
            <a:t>Føring</a:t>
          </a:r>
          <a:endParaRPr lang="da-DK" sz="1100" u="sng" dirty="0"/>
        </a:p>
      </dgm:t>
    </dgm:pt>
    <dgm:pt modelId="{54B6F8D8-7C97-4D56-A9FD-BE3AEE6403B5}" type="sibTrans" cxnId="{E9A990D6-B3B3-4537-B099-6831BDA47DD3}">
      <dgm:prSet/>
      <dgm:spPr/>
      <dgm:t>
        <a:bodyPr/>
        <a:lstStyle/>
        <a:p>
          <a:endParaRPr lang="da-DK"/>
        </a:p>
      </dgm:t>
    </dgm:pt>
    <dgm:pt modelId="{0814A70A-2389-4816-B786-4BFB9A928150}" type="parTrans" cxnId="{E9A990D6-B3B3-4537-B099-6831BDA47DD3}">
      <dgm:prSet/>
      <dgm:spPr/>
      <dgm:t>
        <a:bodyPr/>
        <a:lstStyle/>
        <a:p>
          <a:endParaRPr lang="da-DK"/>
        </a:p>
      </dgm:t>
    </dgm:pt>
    <dgm:pt modelId="{BB2D715F-0DD4-4211-8F36-8E75FADCA7C1}">
      <dgm:prSet phldrT="[Tekst]" custT="1"/>
      <dgm:spPr/>
      <dgm:t>
        <a:bodyPr/>
        <a:lstStyle/>
        <a:p>
          <a:pPr algn="l"/>
          <a:r>
            <a:rPr lang="da-DK" sz="1100" u="none" dirty="0" smtClean="0"/>
            <a:t>LAM</a:t>
          </a:r>
          <a:endParaRPr lang="da-DK" sz="1100" u="none" dirty="0"/>
        </a:p>
      </dgm:t>
    </dgm:pt>
    <dgm:pt modelId="{2C243CF7-BDE0-4470-A588-682B07439C66}" type="parTrans" cxnId="{3ADDFF99-C9AB-4BF8-8F3A-15BEDF479E1B}">
      <dgm:prSet/>
      <dgm:spPr/>
      <dgm:t>
        <a:bodyPr/>
        <a:lstStyle/>
        <a:p>
          <a:endParaRPr lang="da-DK"/>
        </a:p>
      </dgm:t>
    </dgm:pt>
    <dgm:pt modelId="{C941CBE5-7B6D-49E7-A0AF-76EB03E05C51}" type="sibTrans" cxnId="{3ADDFF99-C9AB-4BF8-8F3A-15BEDF479E1B}">
      <dgm:prSet/>
      <dgm:spPr/>
      <dgm:t>
        <a:bodyPr/>
        <a:lstStyle/>
        <a:p>
          <a:endParaRPr lang="da-DK"/>
        </a:p>
      </dgm:t>
    </dgm:pt>
    <dgm:pt modelId="{3E357DCC-4152-4696-B602-7C9E31B1FBEE}">
      <dgm:prSet phldrT="[Tekst]" custT="1"/>
      <dgm:spPr/>
      <dgm:t>
        <a:bodyPr/>
        <a:lstStyle/>
        <a:p>
          <a:pPr algn="l"/>
          <a:r>
            <a:rPr lang="da-DK" sz="1100" u="none" dirty="0" smtClean="0"/>
            <a:t>GTH</a:t>
          </a:r>
          <a:endParaRPr lang="da-DK" sz="1100" u="none" dirty="0"/>
        </a:p>
      </dgm:t>
    </dgm:pt>
    <dgm:pt modelId="{F7B90A04-DA04-4028-B3AB-1978E02A23F5}" type="parTrans" cxnId="{5A4E030E-2015-469E-A31D-8A865F70BC7D}">
      <dgm:prSet/>
      <dgm:spPr/>
      <dgm:t>
        <a:bodyPr/>
        <a:lstStyle/>
        <a:p>
          <a:endParaRPr lang="da-DK"/>
        </a:p>
      </dgm:t>
    </dgm:pt>
    <dgm:pt modelId="{39B1F9F9-FE04-496B-87A1-440AFC56820C}" type="sibTrans" cxnId="{5A4E030E-2015-469E-A31D-8A865F70BC7D}">
      <dgm:prSet/>
      <dgm:spPr/>
      <dgm:t>
        <a:bodyPr/>
        <a:lstStyle/>
        <a:p>
          <a:endParaRPr lang="da-DK"/>
        </a:p>
      </dgm:t>
    </dgm:pt>
    <dgm:pt modelId="{C463BEA7-C2FC-402B-85FE-56EEB9D0267C}">
      <dgm:prSet phldrT="[Tekst]" custT="1"/>
      <dgm:spPr/>
      <dgm:t>
        <a:bodyPr/>
        <a:lstStyle/>
        <a:p>
          <a:r>
            <a:rPr lang="da-DK" sz="1100" u="sng" dirty="0" smtClean="0"/>
            <a:t>Føring</a:t>
          </a:r>
          <a:endParaRPr lang="da-DK" sz="1100" dirty="0"/>
        </a:p>
      </dgm:t>
    </dgm:pt>
    <dgm:pt modelId="{DEF31CB2-BD7E-4397-AEF5-B5F61647E2DE}" type="parTrans" cxnId="{44E6494D-F3A9-4708-B4D2-E148D61BA520}">
      <dgm:prSet/>
      <dgm:spPr/>
      <dgm:t>
        <a:bodyPr/>
        <a:lstStyle/>
        <a:p>
          <a:endParaRPr lang="da-DK"/>
        </a:p>
      </dgm:t>
    </dgm:pt>
    <dgm:pt modelId="{D7B61385-E475-4C53-BD40-8AA95128C69C}" type="sibTrans" cxnId="{44E6494D-F3A9-4708-B4D2-E148D61BA520}">
      <dgm:prSet/>
      <dgm:spPr/>
      <dgm:t>
        <a:bodyPr/>
        <a:lstStyle/>
        <a:p>
          <a:endParaRPr lang="da-DK"/>
        </a:p>
      </dgm:t>
    </dgm:pt>
    <dgm:pt modelId="{BEF2B3A1-E00D-4B9C-8797-0B85C3E49941}">
      <dgm:prSet custT="1"/>
      <dgm:spPr/>
      <dgm:t>
        <a:bodyPr/>
        <a:lstStyle/>
        <a:p>
          <a:r>
            <a:rPr lang="da-DK" sz="1100" dirty="0" smtClean="0"/>
            <a:t>AFD </a:t>
          </a:r>
          <a:r>
            <a:rPr lang="da-DK" sz="1100" dirty="0" smtClean="0">
              <a:sym typeface="Wingdings" panose="05000000000000000000" pitchFamily="2" charset="2"/>
            </a:rPr>
            <a:t> Krise/krig</a:t>
          </a:r>
          <a:endParaRPr lang="da-DK" sz="1100" dirty="0" smtClean="0"/>
        </a:p>
      </dgm:t>
    </dgm:pt>
    <dgm:pt modelId="{32002A0C-B4BA-40D4-A75C-75047110DF12}" type="parTrans" cxnId="{975F1EC2-99C0-4F33-B978-820763105B9D}">
      <dgm:prSet/>
      <dgm:spPr/>
      <dgm:t>
        <a:bodyPr/>
        <a:lstStyle/>
        <a:p>
          <a:endParaRPr lang="da-DK"/>
        </a:p>
      </dgm:t>
    </dgm:pt>
    <dgm:pt modelId="{E93D6EF1-0D9B-4E43-94DD-E00E0A495E4E}" type="sibTrans" cxnId="{975F1EC2-99C0-4F33-B978-820763105B9D}">
      <dgm:prSet/>
      <dgm:spPr/>
      <dgm:t>
        <a:bodyPr/>
        <a:lstStyle/>
        <a:p>
          <a:endParaRPr lang="da-DK"/>
        </a:p>
      </dgm:t>
    </dgm:pt>
    <dgm:pt modelId="{8D00209A-8093-4F5C-8E51-2A1F92A186FA}">
      <dgm:prSet custT="1"/>
      <dgm:spPr/>
      <dgm:t>
        <a:bodyPr/>
        <a:lstStyle/>
        <a:p>
          <a:r>
            <a:rPr lang="da-DK" sz="1100" u="sng" dirty="0" smtClean="0"/>
            <a:t>Ledelse</a:t>
          </a:r>
        </a:p>
      </dgm:t>
    </dgm:pt>
    <dgm:pt modelId="{37B985CC-7BC3-4B48-A283-E06058F6694E}" type="parTrans" cxnId="{03058C8E-1A15-4EC1-8E23-8D3A4536ABE8}">
      <dgm:prSet/>
      <dgm:spPr/>
      <dgm:t>
        <a:bodyPr/>
        <a:lstStyle/>
        <a:p>
          <a:endParaRPr lang="da-DK"/>
        </a:p>
      </dgm:t>
    </dgm:pt>
    <dgm:pt modelId="{65D474AC-0ECA-4187-A6ED-510A4DE8022A}" type="sibTrans" cxnId="{03058C8E-1A15-4EC1-8E23-8D3A4536ABE8}">
      <dgm:prSet/>
      <dgm:spPr/>
      <dgm:t>
        <a:bodyPr/>
        <a:lstStyle/>
        <a:p>
          <a:endParaRPr lang="da-DK"/>
        </a:p>
      </dgm:t>
    </dgm:pt>
    <dgm:pt modelId="{640D3587-9577-4522-8432-B0497F466F4C}">
      <dgm:prSet custT="1"/>
      <dgm:spPr/>
      <dgm:t>
        <a:bodyPr/>
        <a:lstStyle/>
        <a:p>
          <a:r>
            <a:rPr lang="da-DK" sz="1100" dirty="0" smtClean="0"/>
            <a:t>Ledelsesgrundlag i rammen af AFD</a:t>
          </a:r>
        </a:p>
      </dgm:t>
    </dgm:pt>
    <dgm:pt modelId="{F75BBFB0-6206-419A-BA42-2FAB6189CE7A}" type="parTrans" cxnId="{CAA6DDD8-11F8-4DED-83F4-E2786F39DA19}">
      <dgm:prSet/>
      <dgm:spPr/>
      <dgm:t>
        <a:bodyPr/>
        <a:lstStyle/>
        <a:p>
          <a:endParaRPr lang="da-DK"/>
        </a:p>
      </dgm:t>
    </dgm:pt>
    <dgm:pt modelId="{AB4DA07F-B7D7-449C-8ADD-481DA45614ED}" type="sibTrans" cxnId="{CAA6DDD8-11F8-4DED-83F4-E2786F39DA19}">
      <dgm:prSet/>
      <dgm:spPr/>
      <dgm:t>
        <a:bodyPr/>
        <a:lstStyle/>
        <a:p>
          <a:endParaRPr lang="da-DK"/>
        </a:p>
      </dgm:t>
    </dgm:pt>
    <dgm:pt modelId="{977E2843-9D92-4FBA-9B6E-3A263926A6FD}">
      <dgm:prSet custT="1"/>
      <dgm:spPr/>
      <dgm:t>
        <a:bodyPr/>
        <a:lstStyle/>
        <a:p>
          <a:r>
            <a:rPr lang="da-DK" sz="1100" u="sng" dirty="0" smtClean="0"/>
            <a:t>Uddannelse</a:t>
          </a:r>
        </a:p>
      </dgm:t>
    </dgm:pt>
    <dgm:pt modelId="{874A9310-713E-42B7-A63D-64176798141A}" type="parTrans" cxnId="{83088CB5-5B5E-42B8-9ADC-CEB66DCC29BA}">
      <dgm:prSet/>
      <dgm:spPr/>
      <dgm:t>
        <a:bodyPr/>
        <a:lstStyle/>
        <a:p>
          <a:endParaRPr lang="da-DK"/>
        </a:p>
      </dgm:t>
    </dgm:pt>
    <dgm:pt modelId="{B992C93F-5B5C-4BE4-83F4-87BE2104AD91}" type="sibTrans" cxnId="{83088CB5-5B5E-42B8-9ADC-CEB66DCC29BA}">
      <dgm:prSet/>
      <dgm:spPr/>
      <dgm:t>
        <a:bodyPr/>
        <a:lstStyle/>
        <a:p>
          <a:endParaRPr lang="da-DK"/>
        </a:p>
      </dgm:t>
    </dgm:pt>
    <dgm:pt modelId="{B22932C7-D53B-4789-AE91-6313DBB47A24}">
      <dgm:prSet custT="1"/>
      <dgm:spPr/>
      <dgm:t>
        <a:bodyPr/>
        <a:lstStyle/>
        <a:p>
          <a:r>
            <a:rPr lang="da-DK" sz="1100" u="none" dirty="0" smtClean="0"/>
            <a:t>Yderligere </a:t>
          </a:r>
          <a:r>
            <a:rPr lang="da-DK" sz="1100" u="none" dirty="0" err="1" smtClean="0"/>
            <a:t>spec</a:t>
          </a:r>
          <a:r>
            <a:rPr lang="da-DK" sz="1100" u="none" dirty="0" smtClean="0"/>
            <a:t>.</a:t>
          </a:r>
        </a:p>
      </dgm:t>
    </dgm:pt>
    <dgm:pt modelId="{92FDF0D7-C40D-44E9-80DE-425955535223}" type="parTrans" cxnId="{590695BC-4A05-4441-8C89-4BC5DAE7E405}">
      <dgm:prSet/>
      <dgm:spPr/>
      <dgm:t>
        <a:bodyPr/>
        <a:lstStyle/>
        <a:p>
          <a:endParaRPr lang="da-DK"/>
        </a:p>
      </dgm:t>
    </dgm:pt>
    <dgm:pt modelId="{A6E9743A-F249-4CD7-AE4D-42055D7C897B}" type="sibTrans" cxnId="{590695BC-4A05-4441-8C89-4BC5DAE7E405}">
      <dgm:prSet/>
      <dgm:spPr/>
      <dgm:t>
        <a:bodyPr/>
        <a:lstStyle/>
        <a:p>
          <a:endParaRPr lang="da-DK"/>
        </a:p>
      </dgm:t>
    </dgm:pt>
    <dgm:pt modelId="{18A820E3-4BCE-4670-BE27-C193C38E95DA}">
      <dgm:prSet custT="1"/>
      <dgm:spPr/>
      <dgm:t>
        <a:bodyPr/>
        <a:lstStyle/>
        <a:p>
          <a:r>
            <a:rPr lang="da-DK" sz="1100" u="none" dirty="0" smtClean="0"/>
            <a:t>MAU</a:t>
          </a:r>
        </a:p>
      </dgm:t>
    </dgm:pt>
    <dgm:pt modelId="{F514A5A7-60F3-4CA4-AFAE-E1BE5ACBAEA0}" type="parTrans" cxnId="{4EF1AA4E-66F3-45C8-BA6B-9661EC76D74A}">
      <dgm:prSet/>
      <dgm:spPr/>
      <dgm:t>
        <a:bodyPr/>
        <a:lstStyle/>
        <a:p>
          <a:endParaRPr lang="da-DK"/>
        </a:p>
      </dgm:t>
    </dgm:pt>
    <dgm:pt modelId="{8F4BCCC3-802C-4910-A82A-C6AF365E8827}" type="sibTrans" cxnId="{4EF1AA4E-66F3-45C8-BA6B-9661EC76D74A}">
      <dgm:prSet/>
      <dgm:spPr/>
      <dgm:t>
        <a:bodyPr/>
        <a:lstStyle/>
        <a:p>
          <a:endParaRPr lang="da-DK"/>
        </a:p>
      </dgm:t>
    </dgm:pt>
    <dgm:pt modelId="{FC8A929F-3A33-42E2-B59F-C8F020D08D90}">
      <dgm:prSet custT="1"/>
      <dgm:spPr/>
      <dgm:t>
        <a:bodyPr/>
        <a:lstStyle/>
        <a:p>
          <a:r>
            <a:rPr lang="da-DK" sz="1100" u="none" dirty="0" smtClean="0"/>
            <a:t>NIV-6 UDD</a:t>
          </a:r>
        </a:p>
      </dgm:t>
    </dgm:pt>
    <dgm:pt modelId="{C1783CF4-408D-4BE7-A8FC-D4624C00C80E}" type="parTrans" cxnId="{AC0DC033-1516-4C60-A06D-E32AFEACF640}">
      <dgm:prSet/>
      <dgm:spPr/>
      <dgm:t>
        <a:bodyPr/>
        <a:lstStyle/>
        <a:p>
          <a:endParaRPr lang="da-DK"/>
        </a:p>
      </dgm:t>
    </dgm:pt>
    <dgm:pt modelId="{641CE110-C7C5-490E-9384-2FC33AF62E59}" type="sibTrans" cxnId="{AC0DC033-1516-4C60-A06D-E32AFEACF640}">
      <dgm:prSet/>
      <dgm:spPr/>
      <dgm:t>
        <a:bodyPr/>
        <a:lstStyle/>
        <a:p>
          <a:endParaRPr lang="da-DK"/>
        </a:p>
      </dgm:t>
    </dgm:pt>
    <dgm:pt modelId="{098C3EF2-85A1-4976-8F2D-71EC6938C586}">
      <dgm:prSet custT="1"/>
      <dgm:spPr/>
      <dgm:t>
        <a:bodyPr/>
        <a:lstStyle/>
        <a:p>
          <a:r>
            <a:rPr lang="da-DK" sz="1100" u="none" dirty="0" smtClean="0"/>
            <a:t>NATO KUR</a:t>
          </a:r>
          <a:endParaRPr lang="da-DK" sz="1100" dirty="0"/>
        </a:p>
      </dgm:t>
    </dgm:pt>
    <dgm:pt modelId="{A983315E-C933-424E-BA86-F260E2D8308E}" type="parTrans" cxnId="{E1D55C7F-3251-4060-B0E9-133B104AB1A1}">
      <dgm:prSet/>
      <dgm:spPr/>
      <dgm:t>
        <a:bodyPr/>
        <a:lstStyle/>
        <a:p>
          <a:endParaRPr lang="da-DK"/>
        </a:p>
      </dgm:t>
    </dgm:pt>
    <dgm:pt modelId="{C860949A-12C1-42F0-B63D-DD65AD9235CE}" type="sibTrans" cxnId="{E1D55C7F-3251-4060-B0E9-133B104AB1A1}">
      <dgm:prSet/>
      <dgm:spPr/>
      <dgm:t>
        <a:bodyPr/>
        <a:lstStyle/>
        <a:p>
          <a:endParaRPr lang="da-DK"/>
        </a:p>
      </dgm:t>
    </dgm:pt>
    <dgm:pt modelId="{25A4F657-092F-4036-94AF-5793CB4606E7}">
      <dgm:prSet custT="1"/>
      <dgm:spPr/>
      <dgm:t>
        <a:bodyPr/>
        <a:lstStyle/>
        <a:p>
          <a:r>
            <a:rPr lang="da-DK" sz="1100" dirty="0" smtClean="0"/>
            <a:t>CT UDD</a:t>
          </a:r>
        </a:p>
      </dgm:t>
    </dgm:pt>
    <dgm:pt modelId="{FFBACCC3-693B-4F66-96E6-AAFAEF718BFF}" type="parTrans" cxnId="{96374C47-2375-47B4-AE1C-AA8471E65A22}">
      <dgm:prSet/>
      <dgm:spPr/>
      <dgm:t>
        <a:bodyPr/>
        <a:lstStyle/>
        <a:p>
          <a:endParaRPr lang="da-DK"/>
        </a:p>
      </dgm:t>
    </dgm:pt>
    <dgm:pt modelId="{C93BA523-DC3B-43A9-BED6-55FB68AE7845}" type="sibTrans" cxnId="{96374C47-2375-47B4-AE1C-AA8471E65A22}">
      <dgm:prSet/>
      <dgm:spPr/>
      <dgm:t>
        <a:bodyPr/>
        <a:lstStyle/>
        <a:p>
          <a:endParaRPr lang="da-DK"/>
        </a:p>
      </dgm:t>
    </dgm:pt>
    <dgm:pt modelId="{0441ADB8-506F-44BE-984F-1B432065574A}">
      <dgm:prSet phldrT="[Tekst]" custT="1"/>
      <dgm:spPr/>
      <dgm:t>
        <a:bodyPr/>
        <a:lstStyle/>
        <a:p>
          <a:pPr algn="l"/>
          <a:r>
            <a:rPr lang="da-DK" sz="1100" u="sng" dirty="0" smtClean="0"/>
            <a:t>Føring</a:t>
          </a:r>
          <a:endParaRPr lang="da-DK" sz="1100" u="sng" dirty="0"/>
        </a:p>
      </dgm:t>
    </dgm:pt>
    <dgm:pt modelId="{52FC6422-8CDB-4552-B434-22C90A11A026}" type="parTrans" cxnId="{09F8D4C2-CE8E-43A1-B9D6-EB1314097A26}">
      <dgm:prSet/>
      <dgm:spPr/>
      <dgm:t>
        <a:bodyPr/>
        <a:lstStyle/>
        <a:p>
          <a:endParaRPr lang="da-DK"/>
        </a:p>
      </dgm:t>
    </dgm:pt>
    <dgm:pt modelId="{A92B97FC-73BA-4A45-BE8C-12C8825E4464}" type="sibTrans" cxnId="{09F8D4C2-CE8E-43A1-B9D6-EB1314097A26}">
      <dgm:prSet/>
      <dgm:spPr/>
      <dgm:t>
        <a:bodyPr/>
        <a:lstStyle/>
        <a:p>
          <a:endParaRPr lang="da-DK"/>
        </a:p>
      </dgm:t>
    </dgm:pt>
    <dgm:pt modelId="{89DC0469-FF1B-4FAC-A926-95EC8B163908}">
      <dgm:prSet phldrT="[Tekst]" custT="1"/>
      <dgm:spPr/>
      <dgm:t>
        <a:bodyPr/>
        <a:lstStyle/>
        <a:p>
          <a:pPr algn="l"/>
          <a:r>
            <a:rPr lang="da-DK" sz="1100" u="sng" dirty="0" smtClean="0"/>
            <a:t>Ledelse</a:t>
          </a:r>
          <a:endParaRPr lang="da-DK" sz="1100" u="sng" dirty="0"/>
        </a:p>
      </dgm:t>
    </dgm:pt>
    <dgm:pt modelId="{29D4572C-41B5-4C03-A925-650E758756B5}" type="parTrans" cxnId="{FC5719D6-5F13-477F-9B84-AC7F4D5388AB}">
      <dgm:prSet/>
      <dgm:spPr/>
      <dgm:t>
        <a:bodyPr/>
        <a:lstStyle/>
        <a:p>
          <a:endParaRPr lang="da-DK"/>
        </a:p>
      </dgm:t>
    </dgm:pt>
    <dgm:pt modelId="{9FA04664-747D-4249-92CE-61E838EB6FDA}" type="sibTrans" cxnId="{FC5719D6-5F13-477F-9B84-AC7F4D5388AB}">
      <dgm:prSet/>
      <dgm:spPr/>
      <dgm:t>
        <a:bodyPr/>
        <a:lstStyle/>
        <a:p>
          <a:endParaRPr lang="da-DK"/>
        </a:p>
      </dgm:t>
    </dgm:pt>
    <dgm:pt modelId="{9C9A146F-E245-41A6-AAF1-AE2D6F21A779}">
      <dgm:prSet phldrT="[Tekst]" custT="1"/>
      <dgm:spPr/>
      <dgm:t>
        <a:bodyPr/>
        <a:lstStyle/>
        <a:p>
          <a:pPr algn="l"/>
          <a:r>
            <a:rPr lang="da-DK" sz="1100" u="sng" dirty="0" smtClean="0"/>
            <a:t>Uddannelse</a:t>
          </a:r>
          <a:endParaRPr lang="da-DK" sz="1100" u="sng" dirty="0"/>
        </a:p>
      </dgm:t>
    </dgm:pt>
    <dgm:pt modelId="{F3B809F1-8064-4098-B585-271001B5D690}" type="parTrans" cxnId="{1C05FC75-3288-4502-B9D0-6578A67BEA6C}">
      <dgm:prSet/>
      <dgm:spPr/>
      <dgm:t>
        <a:bodyPr/>
        <a:lstStyle/>
        <a:p>
          <a:endParaRPr lang="da-DK"/>
        </a:p>
      </dgm:t>
    </dgm:pt>
    <dgm:pt modelId="{1CD2FC81-83AB-4E2C-91F9-C39FF5D4537C}" type="sibTrans" cxnId="{1C05FC75-3288-4502-B9D0-6578A67BEA6C}">
      <dgm:prSet/>
      <dgm:spPr/>
      <dgm:t>
        <a:bodyPr/>
        <a:lstStyle/>
        <a:p>
          <a:endParaRPr lang="da-DK"/>
        </a:p>
      </dgm:t>
    </dgm:pt>
    <dgm:pt modelId="{6D93A495-6BB7-4143-9254-9282478C6555}">
      <dgm:prSet phldrT="[Tekst]" custT="1"/>
      <dgm:spPr/>
      <dgm:t>
        <a:bodyPr/>
        <a:lstStyle/>
        <a:p>
          <a:pPr algn="l"/>
          <a:r>
            <a:rPr lang="da-DK" sz="1100" u="none" dirty="0" smtClean="0"/>
            <a:t>KMP </a:t>
          </a:r>
          <a:r>
            <a:rPr lang="da-DK" sz="1100" u="none" dirty="0" smtClean="0">
              <a:sym typeface="Wingdings" panose="05000000000000000000" pitchFamily="2" charset="2"/>
            </a:rPr>
            <a:t>Krise/krig</a:t>
          </a:r>
          <a:endParaRPr lang="da-DK" sz="1100" u="none" dirty="0"/>
        </a:p>
      </dgm:t>
    </dgm:pt>
    <dgm:pt modelId="{85DBC4BD-786C-4881-B14C-DC39ADE39E6F}" type="parTrans" cxnId="{4D4E9315-CD10-440E-A8AD-4D6F3C80C7C5}">
      <dgm:prSet/>
      <dgm:spPr/>
      <dgm:t>
        <a:bodyPr/>
        <a:lstStyle/>
        <a:p>
          <a:endParaRPr lang="da-DK"/>
        </a:p>
      </dgm:t>
    </dgm:pt>
    <dgm:pt modelId="{212AA880-0C7F-4904-B587-41D2637AC975}" type="sibTrans" cxnId="{4D4E9315-CD10-440E-A8AD-4D6F3C80C7C5}">
      <dgm:prSet/>
      <dgm:spPr/>
      <dgm:t>
        <a:bodyPr/>
        <a:lstStyle/>
        <a:p>
          <a:endParaRPr lang="da-DK"/>
        </a:p>
      </dgm:t>
    </dgm:pt>
    <dgm:pt modelId="{4EC1CB67-17A7-4934-9A72-6567BE5AE5F9}">
      <dgm:prSet phldrT="[Tekst]" custT="1"/>
      <dgm:spPr/>
      <dgm:t>
        <a:bodyPr/>
        <a:lstStyle/>
        <a:p>
          <a:pPr algn="l"/>
          <a:r>
            <a:rPr lang="da-DK" sz="1100" u="none" dirty="0" smtClean="0"/>
            <a:t>Ledelsesgrundlag o rammen af KMP</a:t>
          </a:r>
          <a:endParaRPr lang="da-DK" sz="1100" u="none" dirty="0"/>
        </a:p>
      </dgm:t>
    </dgm:pt>
    <dgm:pt modelId="{21100385-A4DF-4C8C-B3CF-B90B4B247726}" type="parTrans" cxnId="{C63C0070-C982-4C75-B3E6-660854215D07}">
      <dgm:prSet/>
      <dgm:spPr/>
      <dgm:t>
        <a:bodyPr/>
        <a:lstStyle/>
        <a:p>
          <a:endParaRPr lang="da-DK"/>
        </a:p>
      </dgm:t>
    </dgm:pt>
    <dgm:pt modelId="{16601636-B7A9-4EEB-B1CB-B9C63B8CB19E}" type="sibTrans" cxnId="{C63C0070-C982-4C75-B3E6-660854215D07}">
      <dgm:prSet/>
      <dgm:spPr/>
      <dgm:t>
        <a:bodyPr/>
        <a:lstStyle/>
        <a:p>
          <a:endParaRPr lang="da-DK"/>
        </a:p>
      </dgm:t>
    </dgm:pt>
    <dgm:pt modelId="{64527FB9-44F0-4585-9B08-FE896F421C2A}">
      <dgm:prSet phldrT="[Tekst]" custT="1"/>
      <dgm:spPr/>
      <dgm:t>
        <a:bodyPr/>
        <a:lstStyle/>
        <a:p>
          <a:pPr algn="l"/>
          <a:r>
            <a:rPr lang="da-DK" sz="1100" u="none" dirty="0" smtClean="0"/>
            <a:t>Specialisering</a:t>
          </a:r>
          <a:endParaRPr lang="da-DK" sz="1100" u="none" dirty="0"/>
        </a:p>
      </dgm:t>
    </dgm:pt>
    <dgm:pt modelId="{D00FC479-958C-469A-837B-6D1B839B8422}" type="parTrans" cxnId="{82AFFA8A-EC2B-43BA-A389-AD1C9A62D2C9}">
      <dgm:prSet/>
      <dgm:spPr/>
      <dgm:t>
        <a:bodyPr/>
        <a:lstStyle/>
        <a:p>
          <a:endParaRPr lang="da-DK"/>
        </a:p>
      </dgm:t>
    </dgm:pt>
    <dgm:pt modelId="{631F96C7-FBCB-4087-B703-4CD9727513F3}" type="sibTrans" cxnId="{82AFFA8A-EC2B-43BA-A389-AD1C9A62D2C9}">
      <dgm:prSet/>
      <dgm:spPr/>
      <dgm:t>
        <a:bodyPr/>
        <a:lstStyle/>
        <a:p>
          <a:endParaRPr lang="da-DK"/>
        </a:p>
      </dgm:t>
    </dgm:pt>
    <dgm:pt modelId="{C46FDCF1-4567-4B3D-A8AF-164B436BFD87}">
      <dgm:prSet phldrT="[Tekst]" custT="1"/>
      <dgm:spPr/>
      <dgm:t>
        <a:bodyPr/>
        <a:lstStyle/>
        <a:p>
          <a:pPr algn="l"/>
          <a:r>
            <a:rPr lang="da-DK" sz="1100" u="none" dirty="0" smtClean="0"/>
            <a:t>MAU</a:t>
          </a:r>
          <a:endParaRPr lang="da-DK" sz="1100" u="none" dirty="0"/>
        </a:p>
      </dgm:t>
    </dgm:pt>
    <dgm:pt modelId="{DDFF8A45-6189-4862-9898-208024006BA2}" type="parTrans" cxnId="{F7499F37-48C5-4F79-AAF5-285C8351993B}">
      <dgm:prSet/>
      <dgm:spPr/>
      <dgm:t>
        <a:bodyPr/>
        <a:lstStyle/>
        <a:p>
          <a:endParaRPr lang="da-DK"/>
        </a:p>
      </dgm:t>
    </dgm:pt>
    <dgm:pt modelId="{F66B7FE6-D674-4957-AB1E-356725EED13D}" type="sibTrans" cxnId="{F7499F37-48C5-4F79-AAF5-285C8351993B}">
      <dgm:prSet/>
      <dgm:spPr/>
      <dgm:t>
        <a:bodyPr/>
        <a:lstStyle/>
        <a:p>
          <a:endParaRPr lang="da-DK"/>
        </a:p>
      </dgm:t>
    </dgm:pt>
    <dgm:pt modelId="{A919325A-E2C5-462A-A199-F3BE26F5D32A}">
      <dgm:prSet phldrT="[Tekst]" custT="1"/>
      <dgm:spPr/>
      <dgm:t>
        <a:bodyPr/>
        <a:lstStyle/>
        <a:p>
          <a:pPr algn="l"/>
          <a:r>
            <a:rPr lang="da-DK" sz="1100" u="none" dirty="0" smtClean="0"/>
            <a:t>CT UDD</a:t>
          </a:r>
          <a:endParaRPr lang="da-DK" sz="1100" u="none" dirty="0"/>
        </a:p>
      </dgm:t>
    </dgm:pt>
    <dgm:pt modelId="{2F40F05C-0120-45FA-B2ED-267D7B0FA6BA}" type="parTrans" cxnId="{F0CAD3A4-72CE-492A-B1F9-C5AEC7FDFF48}">
      <dgm:prSet/>
      <dgm:spPr/>
      <dgm:t>
        <a:bodyPr/>
        <a:lstStyle/>
        <a:p>
          <a:endParaRPr lang="da-DK"/>
        </a:p>
      </dgm:t>
    </dgm:pt>
    <dgm:pt modelId="{76BF6EA6-DFB1-4807-8BDB-3C0AA3D69380}" type="sibTrans" cxnId="{F0CAD3A4-72CE-492A-B1F9-C5AEC7FDFF48}">
      <dgm:prSet/>
      <dgm:spPr/>
      <dgm:t>
        <a:bodyPr/>
        <a:lstStyle/>
        <a:p>
          <a:endParaRPr lang="da-DK"/>
        </a:p>
      </dgm:t>
    </dgm:pt>
    <dgm:pt modelId="{2F43BC38-B7E5-451C-A815-04E512019DB3}">
      <dgm:prSet phldrT="[Tekst]" custT="1"/>
      <dgm:spPr/>
      <dgm:t>
        <a:bodyPr/>
        <a:lstStyle/>
        <a:p>
          <a:pPr algn="l"/>
          <a:r>
            <a:rPr lang="da-DK" sz="1100" u="none" dirty="0" smtClean="0"/>
            <a:t>NATO KUR</a:t>
          </a:r>
          <a:endParaRPr lang="da-DK" sz="1100" u="none" dirty="0"/>
        </a:p>
      </dgm:t>
    </dgm:pt>
    <dgm:pt modelId="{F5A490B3-5C34-4A70-BF01-6C88241163CF}" type="parTrans" cxnId="{00402957-E640-47DC-97DC-F2E21145B075}">
      <dgm:prSet/>
      <dgm:spPr/>
      <dgm:t>
        <a:bodyPr/>
        <a:lstStyle/>
        <a:p>
          <a:endParaRPr lang="da-DK"/>
        </a:p>
      </dgm:t>
    </dgm:pt>
    <dgm:pt modelId="{58B62232-2BA6-45AD-8509-0E02E018B6BF}" type="sibTrans" cxnId="{00402957-E640-47DC-97DC-F2E21145B075}">
      <dgm:prSet/>
      <dgm:spPr/>
      <dgm:t>
        <a:bodyPr/>
        <a:lstStyle/>
        <a:p>
          <a:endParaRPr lang="da-DK"/>
        </a:p>
      </dgm:t>
    </dgm:pt>
    <dgm:pt modelId="{E3C72AA5-B3C6-4E83-8A81-08EA640D3E7F}">
      <dgm:prSet phldrT="[Tekst]" custT="1"/>
      <dgm:spPr/>
      <dgm:t>
        <a:bodyPr/>
        <a:lstStyle/>
        <a:p>
          <a:pPr algn="l"/>
          <a:r>
            <a:rPr lang="da-DK" sz="1100" u="none" dirty="0" smtClean="0"/>
            <a:t>HIK</a:t>
          </a:r>
          <a:endParaRPr lang="da-DK" sz="1100" u="none" dirty="0"/>
        </a:p>
      </dgm:t>
    </dgm:pt>
    <dgm:pt modelId="{8F5DBF40-A5F5-4364-9A8F-83E8AEA1E646}" type="parTrans" cxnId="{EB1BF477-BA0C-44A3-A039-C4D82E22F838}">
      <dgm:prSet/>
      <dgm:spPr/>
      <dgm:t>
        <a:bodyPr/>
        <a:lstStyle/>
        <a:p>
          <a:endParaRPr lang="da-DK"/>
        </a:p>
      </dgm:t>
    </dgm:pt>
    <dgm:pt modelId="{900AC25D-C387-433E-9DB7-C30155E723B7}" type="sibTrans" cxnId="{EB1BF477-BA0C-44A3-A039-C4D82E22F838}">
      <dgm:prSet/>
      <dgm:spPr/>
      <dgm:t>
        <a:bodyPr/>
        <a:lstStyle/>
        <a:p>
          <a:endParaRPr lang="da-DK"/>
        </a:p>
      </dgm:t>
    </dgm:pt>
    <dgm:pt modelId="{3F4ECFE2-0AD9-438F-AA16-8A7531673F41}">
      <dgm:prSet phldrT="[Tekst]" custT="1"/>
      <dgm:spPr/>
      <dgm:t>
        <a:bodyPr/>
        <a:lstStyle/>
        <a:p>
          <a:pPr algn="l"/>
          <a:r>
            <a:rPr lang="da-DK" sz="1100" u="none" dirty="0" smtClean="0"/>
            <a:t>LIO</a:t>
          </a:r>
          <a:endParaRPr lang="da-DK" sz="1100" u="none" dirty="0"/>
        </a:p>
      </dgm:t>
    </dgm:pt>
    <dgm:pt modelId="{35435D37-1CC5-47A5-BAD4-3DEBDBBCE515}" type="parTrans" cxnId="{890FE6C0-23E8-491E-874D-C2F40B3AEEAD}">
      <dgm:prSet/>
      <dgm:spPr/>
      <dgm:t>
        <a:bodyPr/>
        <a:lstStyle/>
        <a:p>
          <a:endParaRPr lang="da-DK"/>
        </a:p>
      </dgm:t>
    </dgm:pt>
    <dgm:pt modelId="{ADC252B3-B954-4882-8BEF-7CD0BEB682BA}" type="sibTrans" cxnId="{890FE6C0-23E8-491E-874D-C2F40B3AEEAD}">
      <dgm:prSet/>
      <dgm:spPr/>
      <dgm:t>
        <a:bodyPr/>
        <a:lstStyle/>
        <a:p>
          <a:endParaRPr lang="da-DK"/>
        </a:p>
      </dgm:t>
    </dgm:pt>
    <dgm:pt modelId="{93A13F06-511A-42B6-96A9-0EDC9E245A8B}">
      <dgm:prSet phldrT="[Tekst]" custT="1"/>
      <dgm:spPr/>
      <dgm:t>
        <a:bodyPr/>
        <a:lstStyle/>
        <a:p>
          <a:pPr algn="l"/>
          <a:r>
            <a:rPr lang="da-DK" sz="1100" u="none" dirty="0" smtClean="0"/>
            <a:t>GSU/STP</a:t>
          </a:r>
          <a:endParaRPr lang="da-DK" sz="1100" u="none" dirty="0"/>
        </a:p>
      </dgm:t>
    </dgm:pt>
    <dgm:pt modelId="{2097D9E7-F015-4922-A53B-B8E3266A974C}" type="parTrans" cxnId="{DC473A1E-C590-4AD2-847E-5F52E5F429A4}">
      <dgm:prSet/>
      <dgm:spPr/>
      <dgm:t>
        <a:bodyPr/>
        <a:lstStyle/>
        <a:p>
          <a:endParaRPr lang="da-DK"/>
        </a:p>
      </dgm:t>
    </dgm:pt>
    <dgm:pt modelId="{F57FCC4A-90DB-4BCC-B542-EDC28491263F}" type="sibTrans" cxnId="{DC473A1E-C590-4AD2-847E-5F52E5F429A4}">
      <dgm:prSet/>
      <dgm:spPr/>
      <dgm:t>
        <a:bodyPr/>
        <a:lstStyle/>
        <a:p>
          <a:endParaRPr lang="da-DK"/>
        </a:p>
      </dgm:t>
    </dgm:pt>
    <dgm:pt modelId="{6DDD1FAD-C287-420D-A12F-042600887B4A}">
      <dgm:prSet phldrT="[Tekst]" custT="1"/>
      <dgm:spPr/>
      <dgm:t>
        <a:bodyPr/>
        <a:lstStyle/>
        <a:p>
          <a:pPr algn="l"/>
          <a:r>
            <a:rPr lang="da-DK" sz="1100" u="none" dirty="0" smtClean="0"/>
            <a:t>NATO KUR</a:t>
          </a:r>
          <a:endParaRPr lang="da-DK" sz="1100" u="none" dirty="0"/>
        </a:p>
      </dgm:t>
    </dgm:pt>
    <dgm:pt modelId="{A53DA8E6-A051-4F85-AAD5-E04C629C1576}" type="parTrans" cxnId="{62B2AEA9-187C-4182-8A6B-DFD8B2FB763D}">
      <dgm:prSet/>
      <dgm:spPr/>
      <dgm:t>
        <a:bodyPr/>
        <a:lstStyle/>
        <a:p>
          <a:endParaRPr lang="da-DK"/>
        </a:p>
      </dgm:t>
    </dgm:pt>
    <dgm:pt modelId="{7B8485BE-DA60-41C9-9C0E-E77DEE9FA0ED}" type="sibTrans" cxnId="{62B2AEA9-187C-4182-8A6B-DFD8B2FB763D}">
      <dgm:prSet/>
      <dgm:spPr/>
      <dgm:t>
        <a:bodyPr/>
        <a:lstStyle/>
        <a:p>
          <a:endParaRPr lang="da-DK"/>
        </a:p>
      </dgm:t>
    </dgm:pt>
    <dgm:pt modelId="{3F5FBC42-9F86-4057-8375-EC991A74C938}">
      <dgm:prSet phldrT="[Tekst]" custT="1"/>
      <dgm:spPr/>
      <dgm:t>
        <a:bodyPr/>
        <a:lstStyle/>
        <a:p>
          <a:pPr algn="l"/>
          <a:endParaRPr lang="da-DK" sz="1100" u="none" dirty="0"/>
        </a:p>
      </dgm:t>
    </dgm:pt>
    <dgm:pt modelId="{A52CB7C5-6170-4238-98F8-BF77FEE65A3D}" type="parTrans" cxnId="{BB84D4F1-CF66-43E6-9AF4-15A79A60931D}">
      <dgm:prSet/>
      <dgm:spPr/>
      <dgm:t>
        <a:bodyPr/>
        <a:lstStyle/>
        <a:p>
          <a:endParaRPr lang="da-DK"/>
        </a:p>
      </dgm:t>
    </dgm:pt>
    <dgm:pt modelId="{F38FF187-324F-422F-A460-69DC7DF21FBF}" type="sibTrans" cxnId="{BB84D4F1-CF66-43E6-9AF4-15A79A60931D}">
      <dgm:prSet/>
      <dgm:spPr/>
      <dgm:t>
        <a:bodyPr/>
        <a:lstStyle/>
        <a:p>
          <a:endParaRPr lang="da-DK"/>
        </a:p>
      </dgm:t>
    </dgm:pt>
    <dgm:pt modelId="{02EFE62A-3053-4C0A-94E2-F106307C8C04}" type="pres">
      <dgm:prSet presAssocID="{55C6902B-117B-406D-B1BB-A2BC3E1C7443}" presName="Name0" presStyleCnt="0">
        <dgm:presLayoutVars>
          <dgm:dir/>
          <dgm:resizeHandles val="exact"/>
        </dgm:presLayoutVars>
      </dgm:prSet>
      <dgm:spPr/>
    </dgm:pt>
    <dgm:pt modelId="{712F5380-8935-4253-98B7-827781CCAAB4}" type="pres">
      <dgm:prSet presAssocID="{55C6902B-117B-406D-B1BB-A2BC3E1C7443}" presName="bkgdShp" presStyleLbl="alignAccFollowNode1" presStyleIdx="0" presStyleCnt="1"/>
      <dgm:spPr/>
    </dgm:pt>
    <dgm:pt modelId="{0744DEB5-A4BE-4342-AE68-78627AB5EE97}" type="pres">
      <dgm:prSet presAssocID="{55C6902B-117B-406D-B1BB-A2BC3E1C7443}" presName="linComp" presStyleCnt="0"/>
      <dgm:spPr/>
    </dgm:pt>
    <dgm:pt modelId="{6E66C84C-5EF4-40E6-A601-F0C92FAC0BC7}" type="pres">
      <dgm:prSet presAssocID="{BDCCEC16-E555-4370-B34D-5442F320E573}" presName="compNode" presStyleCnt="0"/>
      <dgm:spPr/>
    </dgm:pt>
    <dgm:pt modelId="{52B6F5A3-B6ED-4CD1-9C32-CD5213C6CF52}" type="pres">
      <dgm:prSet presAssocID="{BDCCEC16-E555-4370-B34D-5442F320E573}" presName="node" presStyleLbl="node1" presStyleIdx="0" presStyleCnt="4">
        <dgm:presLayoutVars>
          <dgm:bulletEnabled val="1"/>
        </dgm:presLayoutVars>
      </dgm:prSet>
      <dgm:spPr/>
      <dgm:t>
        <a:bodyPr/>
        <a:lstStyle/>
        <a:p>
          <a:endParaRPr lang="da-DK"/>
        </a:p>
      </dgm:t>
    </dgm:pt>
    <dgm:pt modelId="{A7B51519-6305-48BF-B9E8-EE7E8EEAB0D0}" type="pres">
      <dgm:prSet presAssocID="{BDCCEC16-E555-4370-B34D-5442F320E573}" presName="invisiNode" presStyleLbl="node1" presStyleIdx="0" presStyleCnt="4"/>
      <dgm:spPr/>
    </dgm:pt>
    <dgm:pt modelId="{004663AB-3284-4718-A01C-E5540C9C185B}" type="pres">
      <dgm:prSet presAssocID="{BDCCEC16-E555-4370-B34D-5442F320E573}" presName="imagNode" presStyleLbl="fgImgPlace1" presStyleIdx="0" presStyleCnt="4"/>
      <dgm:spPr>
        <a:blipFill rotWithShape="1">
          <a:blip xmlns:r="http://schemas.openxmlformats.org/officeDocument/2006/relationships" r:embed="rId1"/>
          <a:stretch>
            <a:fillRect/>
          </a:stretch>
        </a:blipFill>
      </dgm:spPr>
    </dgm:pt>
    <dgm:pt modelId="{B04D4151-F14D-4D25-B22F-A48867F039EB}" type="pres">
      <dgm:prSet presAssocID="{98852CBE-5715-466B-AD8F-E12ACF097BE1}" presName="sibTrans" presStyleLbl="sibTrans2D1" presStyleIdx="0" presStyleCnt="0"/>
      <dgm:spPr/>
      <dgm:t>
        <a:bodyPr/>
        <a:lstStyle/>
        <a:p>
          <a:endParaRPr lang="da-DK"/>
        </a:p>
      </dgm:t>
    </dgm:pt>
    <dgm:pt modelId="{09ED19F8-54A8-4133-9B6B-5BCE744B0C20}" type="pres">
      <dgm:prSet presAssocID="{54F7B543-6981-4C3B-9321-57174ECCB5D4}" presName="compNode" presStyleCnt="0"/>
      <dgm:spPr/>
    </dgm:pt>
    <dgm:pt modelId="{2C6D7BD5-A1F2-482B-BE8E-F42EC77518A9}" type="pres">
      <dgm:prSet presAssocID="{54F7B543-6981-4C3B-9321-57174ECCB5D4}" presName="node" presStyleLbl="node1" presStyleIdx="1" presStyleCnt="4">
        <dgm:presLayoutVars>
          <dgm:bulletEnabled val="1"/>
        </dgm:presLayoutVars>
      </dgm:prSet>
      <dgm:spPr/>
      <dgm:t>
        <a:bodyPr/>
        <a:lstStyle/>
        <a:p>
          <a:endParaRPr lang="da-DK"/>
        </a:p>
      </dgm:t>
    </dgm:pt>
    <dgm:pt modelId="{89A83B9E-D833-4372-B9A5-2D03FC94A0C7}" type="pres">
      <dgm:prSet presAssocID="{54F7B543-6981-4C3B-9321-57174ECCB5D4}" presName="invisiNode" presStyleLbl="node1" presStyleIdx="1" presStyleCnt="4"/>
      <dgm:spPr/>
    </dgm:pt>
    <dgm:pt modelId="{46293599-CD18-456C-B523-2643D9780D34}" type="pres">
      <dgm:prSet presAssocID="{54F7B543-6981-4C3B-9321-57174ECCB5D4}" presName="imagNode" presStyleLbl="fgImgPlace1" presStyleIdx="1" presStyleCnt="4"/>
      <dgm:spPr>
        <a:blipFill rotWithShape="1">
          <a:blip xmlns:r="http://schemas.openxmlformats.org/officeDocument/2006/relationships" r:embed="rId2"/>
          <a:stretch>
            <a:fillRect/>
          </a:stretch>
        </a:blipFill>
      </dgm:spPr>
    </dgm:pt>
    <dgm:pt modelId="{DF1178CB-CC63-4CE1-948E-EBC617215044}" type="pres">
      <dgm:prSet presAssocID="{4649C63C-93AB-4F9D-BC5D-3F96A02CEF40}" presName="sibTrans" presStyleLbl="sibTrans2D1" presStyleIdx="0" presStyleCnt="0"/>
      <dgm:spPr/>
      <dgm:t>
        <a:bodyPr/>
        <a:lstStyle/>
        <a:p>
          <a:endParaRPr lang="da-DK"/>
        </a:p>
      </dgm:t>
    </dgm:pt>
    <dgm:pt modelId="{9FC48F0F-7201-4B3A-912A-3F7EC4499B21}" type="pres">
      <dgm:prSet presAssocID="{2DF5845F-E145-43F2-A171-DC10421FC9A3}" presName="compNode" presStyleCnt="0"/>
      <dgm:spPr/>
    </dgm:pt>
    <dgm:pt modelId="{8663C2DC-84AB-4BE7-9FA4-CD6B36392FCB}" type="pres">
      <dgm:prSet presAssocID="{2DF5845F-E145-43F2-A171-DC10421FC9A3}" presName="node" presStyleLbl="node1" presStyleIdx="2" presStyleCnt="4">
        <dgm:presLayoutVars>
          <dgm:bulletEnabled val="1"/>
        </dgm:presLayoutVars>
      </dgm:prSet>
      <dgm:spPr/>
      <dgm:t>
        <a:bodyPr/>
        <a:lstStyle/>
        <a:p>
          <a:endParaRPr lang="da-DK"/>
        </a:p>
      </dgm:t>
    </dgm:pt>
    <dgm:pt modelId="{72AC4CD8-9A7F-4E6E-88C6-6A9FE42A54BB}" type="pres">
      <dgm:prSet presAssocID="{2DF5845F-E145-43F2-A171-DC10421FC9A3}" presName="invisiNode" presStyleLbl="node1" presStyleIdx="2" presStyleCnt="4"/>
      <dgm:spPr/>
    </dgm:pt>
    <dgm:pt modelId="{82F78160-1442-452D-8541-31D68F328FFD}" type="pres">
      <dgm:prSet presAssocID="{2DF5845F-E145-43F2-A171-DC10421FC9A3}" presName="imagNode" presStyleLbl="fgImgPlace1" presStyleIdx="2" presStyleCnt="4"/>
      <dgm:spPr>
        <a:blipFill rotWithShape="1">
          <a:blip xmlns:r="http://schemas.openxmlformats.org/officeDocument/2006/relationships" r:embed="rId3"/>
          <a:stretch>
            <a:fillRect/>
          </a:stretch>
        </a:blipFill>
      </dgm:spPr>
    </dgm:pt>
    <dgm:pt modelId="{003319FC-B342-4F1F-A59B-C1AE22E17352}" type="pres">
      <dgm:prSet presAssocID="{EDD4BEE3-4CCE-4620-B6D6-B9CF0BD1A119}" presName="sibTrans" presStyleLbl="sibTrans2D1" presStyleIdx="0" presStyleCnt="0"/>
      <dgm:spPr/>
      <dgm:t>
        <a:bodyPr/>
        <a:lstStyle/>
        <a:p>
          <a:endParaRPr lang="da-DK"/>
        </a:p>
      </dgm:t>
    </dgm:pt>
    <dgm:pt modelId="{859ACEEC-942C-4C55-AA21-7048503883C5}" type="pres">
      <dgm:prSet presAssocID="{16E69697-452B-4937-B38E-A603C04687D8}" presName="compNode" presStyleCnt="0"/>
      <dgm:spPr/>
    </dgm:pt>
    <dgm:pt modelId="{E8C21E64-FADE-4ECC-8520-A2129043AC4B}" type="pres">
      <dgm:prSet presAssocID="{16E69697-452B-4937-B38E-A603C04687D8}" presName="node" presStyleLbl="node1" presStyleIdx="3" presStyleCnt="4">
        <dgm:presLayoutVars>
          <dgm:bulletEnabled val="1"/>
        </dgm:presLayoutVars>
      </dgm:prSet>
      <dgm:spPr/>
      <dgm:t>
        <a:bodyPr/>
        <a:lstStyle/>
        <a:p>
          <a:endParaRPr lang="da-DK"/>
        </a:p>
      </dgm:t>
    </dgm:pt>
    <dgm:pt modelId="{44935385-43AB-4D6E-A696-B4471EE3ED03}" type="pres">
      <dgm:prSet presAssocID="{16E69697-452B-4937-B38E-A603C04687D8}" presName="invisiNode" presStyleLbl="node1" presStyleIdx="3" presStyleCnt="4"/>
      <dgm:spPr/>
    </dgm:pt>
    <dgm:pt modelId="{98E929B9-8BAA-4422-90E7-ABE3057DD78E}" type="pres">
      <dgm:prSet presAssocID="{16E69697-452B-4937-B38E-A603C04687D8}" presName="imagNode" presStyleLbl="fgImgPlace1" presStyleIdx="3" presStyleCnt="4"/>
      <dgm:spPr>
        <a:blipFill rotWithShape="1">
          <a:blip xmlns:r="http://schemas.openxmlformats.org/officeDocument/2006/relationships" r:embed="rId4"/>
          <a:stretch>
            <a:fillRect/>
          </a:stretch>
        </a:blipFill>
      </dgm:spPr>
    </dgm:pt>
  </dgm:ptLst>
  <dgm:cxnLst>
    <dgm:cxn modelId="{1C05FC75-3288-4502-B9D0-6578A67BEA6C}" srcId="{2DF5845F-E145-43F2-A171-DC10421FC9A3}" destId="{9C9A146F-E245-41A6-AAF1-AE2D6F21A779}" srcOrd="2" destOrd="0" parTransId="{F3B809F1-8064-4098-B585-271001B5D690}" sibTransId="{1CD2FC81-83AB-4E2C-91F9-C39FF5D4537C}"/>
    <dgm:cxn modelId="{ACF3A747-1853-4981-9C19-D2487A589B03}" type="presOf" srcId="{18A820E3-4BCE-4670-BE27-C193C38E95DA}" destId="{E8C21E64-FADE-4ECC-8520-A2129043AC4B}" srcOrd="0" destOrd="8" presId="urn:microsoft.com/office/officeart/2005/8/layout/pList2"/>
    <dgm:cxn modelId="{38031386-EA65-4EDC-B132-2613A34CA35C}" type="presOf" srcId="{54F7B543-6981-4C3B-9321-57174ECCB5D4}" destId="{2C6D7BD5-A1F2-482B-BE8E-F42EC77518A9}" srcOrd="0" destOrd="0" presId="urn:microsoft.com/office/officeart/2005/8/layout/pList2"/>
    <dgm:cxn modelId="{61B6877F-5B88-4A53-A0DE-0D27EE9B2829}" type="presOf" srcId="{2DF5845F-E145-43F2-A171-DC10421FC9A3}" destId="{8663C2DC-84AB-4BE7-9FA4-CD6B36392FCB}" srcOrd="0" destOrd="0" presId="urn:microsoft.com/office/officeart/2005/8/layout/pList2"/>
    <dgm:cxn modelId="{4F7C7775-2F7C-4E72-B613-F2971BFF1A16}" type="presOf" srcId="{FC8A929F-3A33-42E2-B59F-C8F020D08D90}" destId="{E8C21E64-FADE-4ECC-8520-A2129043AC4B}" srcOrd="0" destOrd="9" presId="urn:microsoft.com/office/officeart/2005/8/layout/pList2"/>
    <dgm:cxn modelId="{FF0C49E1-FF05-4462-BBEB-5394EFDE2093}" type="presOf" srcId="{C46FDCF1-4567-4B3D-A8AF-164B436BFD87}" destId="{8663C2DC-84AB-4BE7-9FA4-CD6B36392FCB}" srcOrd="0" destOrd="8" presId="urn:microsoft.com/office/officeart/2005/8/layout/pList2"/>
    <dgm:cxn modelId="{FCF24B31-00F9-4027-ADA3-3F2AAB766425}" type="presOf" srcId="{640D3587-9577-4522-8432-B0497F466F4C}" destId="{E8C21E64-FADE-4ECC-8520-A2129043AC4B}" srcOrd="0" destOrd="4" presId="urn:microsoft.com/office/officeart/2005/8/layout/pList2"/>
    <dgm:cxn modelId="{2F1BC415-A8CE-477B-A70D-618FC71DB853}" type="presOf" srcId="{BDCCEC16-E555-4370-B34D-5442F320E573}" destId="{52B6F5A3-B6ED-4CD1-9C32-CD5213C6CF52}" srcOrd="0" destOrd="0" presId="urn:microsoft.com/office/officeart/2005/8/layout/pList2"/>
    <dgm:cxn modelId="{9D7E925D-B18F-4894-8F9E-778E81FF343A}" type="presOf" srcId="{58915889-04EE-443C-B608-15BF9BE5625C}" destId="{2C6D7BD5-A1F2-482B-BE8E-F42EC77518A9}" srcOrd="0" destOrd="7" presId="urn:microsoft.com/office/officeart/2005/8/layout/pList2"/>
    <dgm:cxn modelId="{18B72B45-0F18-4930-AD43-3B50BDEF0EFE}" type="presOf" srcId="{C463BEA7-C2FC-402B-85FE-56EEB9D0267C}" destId="{E8C21E64-FADE-4ECC-8520-A2129043AC4B}" srcOrd="0" destOrd="1" presId="urn:microsoft.com/office/officeart/2005/8/layout/pList2"/>
    <dgm:cxn modelId="{5361E9D9-0733-4240-A62B-A17A79A28C50}" type="presOf" srcId="{E71CB147-02D6-47A9-8E47-4A097A4AE10F}" destId="{2C6D7BD5-A1F2-482B-BE8E-F42EC77518A9}" srcOrd="0" destOrd="2" presId="urn:microsoft.com/office/officeart/2005/8/layout/pList2"/>
    <dgm:cxn modelId="{E24E8E10-672F-4E7A-A9F6-3BCFD347B9CC}" type="presOf" srcId="{25A4F657-092F-4036-94AF-5793CB4606E7}" destId="{E8C21E64-FADE-4ECC-8520-A2129043AC4B}" srcOrd="0" destOrd="5" presId="urn:microsoft.com/office/officeart/2005/8/layout/pList2"/>
    <dgm:cxn modelId="{AC0DC033-1516-4C60-A06D-E32AFEACF640}" srcId="{16E69697-452B-4937-B38E-A603C04687D8}" destId="{FC8A929F-3A33-42E2-B59F-C8F020D08D90}" srcOrd="8" destOrd="0" parTransId="{C1783CF4-408D-4BE7-A8FC-D4624C00C80E}" sibTransId="{641CE110-C7C5-490E-9384-2FC33AF62E59}"/>
    <dgm:cxn modelId="{AFCB0ED8-D2F2-4DBA-95A1-D1FBC7116FBD}" srcId="{C3F6C105-28AD-486E-A1DF-D63F663553AD}" destId="{DB590001-5093-4C97-B2C7-3038D8B07A19}" srcOrd="0" destOrd="0" parTransId="{47CB0603-43E0-4E4A-995D-64E9A68F2D5C}" sibTransId="{853EEB83-647D-4BF6-989F-DC55E0905F59}"/>
    <dgm:cxn modelId="{CAA6DDD8-11F8-4DED-83F4-E2786F39DA19}" srcId="{16E69697-452B-4937-B38E-A603C04687D8}" destId="{640D3587-9577-4522-8432-B0497F466F4C}" srcOrd="3" destOrd="0" parTransId="{F75BBFB0-6206-419A-BA42-2FAB6189CE7A}" sibTransId="{AB4DA07F-B7D7-449C-8ADD-481DA45614ED}"/>
    <dgm:cxn modelId="{90FAC5FD-66D3-42B6-9D04-F0944372B076}" type="presOf" srcId="{DB590001-5093-4C97-B2C7-3038D8B07A19}" destId="{52B6F5A3-B6ED-4CD1-9C32-CD5213C6CF52}" srcOrd="0" destOrd="6" presId="urn:microsoft.com/office/officeart/2005/8/layout/pList2"/>
    <dgm:cxn modelId="{F0CAD3A4-72CE-492A-B1F9-C5AEC7FDFF48}" srcId="{89DC0469-FF1B-4FAC-A926-95EC8B163908}" destId="{A919325A-E2C5-462A-A199-F3BE26F5D32A}" srcOrd="1" destOrd="0" parTransId="{2F40F05C-0120-45FA-B2ED-267D7B0FA6BA}" sibTransId="{76BF6EA6-DFB1-4807-8BDB-3C0AA3D69380}"/>
    <dgm:cxn modelId="{847AE0CA-1418-4124-B9DB-715DD5C2FA11}" type="presOf" srcId="{616CB614-7001-4B74-BA5A-9A9AFEA71649}" destId="{52B6F5A3-B6ED-4CD1-9C32-CD5213C6CF52}" srcOrd="0" destOrd="1" presId="urn:microsoft.com/office/officeart/2005/8/layout/pList2"/>
    <dgm:cxn modelId="{90B3B1EF-B786-4567-B33B-EDC2808C625A}" type="presOf" srcId="{16E69697-452B-4937-B38E-A603C04687D8}" destId="{E8C21E64-FADE-4ECC-8520-A2129043AC4B}" srcOrd="0" destOrd="0" presId="urn:microsoft.com/office/officeart/2005/8/layout/pList2"/>
    <dgm:cxn modelId="{C1218887-6921-4448-8C25-682C82E345E0}" srcId="{55C6902B-117B-406D-B1BB-A2BC3E1C7443}" destId="{16E69697-452B-4937-B38E-A603C04687D8}" srcOrd="3" destOrd="0" parTransId="{6A0EF079-E2BC-494A-AD99-8E4A6C9EE451}" sibTransId="{8495628B-B758-4878-8E1F-F7E1E3AFF3F7}"/>
    <dgm:cxn modelId="{A85A8DDE-2653-4FC0-A804-E9CA50B1002F}" type="presOf" srcId="{6D93A495-6BB7-4143-9254-9282478C6555}" destId="{8663C2DC-84AB-4BE7-9FA4-CD6B36392FCB}" srcOrd="0" destOrd="2" presId="urn:microsoft.com/office/officeart/2005/8/layout/pList2"/>
    <dgm:cxn modelId="{D3C2B127-AF40-4930-97F6-3B2AB5F0BE83}" type="presOf" srcId="{FC81402C-CF09-41EF-A621-DF4AC34DB796}" destId="{2C6D7BD5-A1F2-482B-BE8E-F42EC77518A9}" srcOrd="0" destOrd="3" presId="urn:microsoft.com/office/officeart/2005/8/layout/pList2"/>
    <dgm:cxn modelId="{F3C52A5D-A86D-4615-81CB-CFA23833B8A5}" type="presOf" srcId="{3F4ECFE2-0AD9-438F-AA16-8A7531673F41}" destId="{8663C2DC-84AB-4BE7-9FA4-CD6B36392FCB}" srcOrd="0" destOrd="10" presId="urn:microsoft.com/office/officeart/2005/8/layout/pList2"/>
    <dgm:cxn modelId="{5A4E030E-2015-469E-A31D-8A865F70BC7D}" srcId="{58915889-04EE-443C-B608-15BF9BE5625C}" destId="{3E357DCC-4152-4696-B602-7C9E31B1FBEE}" srcOrd="1" destOrd="0" parTransId="{F7B90A04-DA04-4028-B3AB-1978E02A23F5}" sibTransId="{39B1F9F9-FE04-496B-87A1-440AFC56820C}"/>
    <dgm:cxn modelId="{7C697779-B294-46BD-904D-E02670906785}" srcId="{3FC69CAD-E6CE-49C1-9853-A6518733D742}" destId="{7D42D557-3871-4643-AA33-CDC834252D3F}" srcOrd="0" destOrd="0" parTransId="{6847641F-42AA-424F-9938-DD64C350C592}" sibTransId="{1F441A91-60F2-4B63-9384-F5595790FECE}"/>
    <dgm:cxn modelId="{4EF1AA4E-66F3-45C8-BA6B-9661EC76D74A}" srcId="{16E69697-452B-4937-B38E-A603C04687D8}" destId="{18A820E3-4BCE-4670-BE27-C193C38E95DA}" srcOrd="7" destOrd="0" parTransId="{F514A5A7-60F3-4CA4-AFAE-E1BE5ACBAEA0}" sibTransId="{8F4BCCC3-802C-4910-A82A-C6AF365E8827}"/>
    <dgm:cxn modelId="{975F1EC2-99C0-4F33-B978-820763105B9D}" srcId="{16E69697-452B-4937-B38E-A603C04687D8}" destId="{BEF2B3A1-E00D-4B9C-8797-0B85C3E49941}" srcOrd="1" destOrd="0" parTransId="{32002A0C-B4BA-40D4-A75C-75047110DF12}" sibTransId="{E93D6EF1-0D9B-4E43-94DD-E00E0A495E4E}"/>
    <dgm:cxn modelId="{F7499F37-48C5-4F79-AAF5-285C8351993B}" srcId="{9C9A146F-E245-41A6-AAF1-AE2D6F21A779}" destId="{C46FDCF1-4567-4B3D-A8AF-164B436BFD87}" srcOrd="1" destOrd="0" parTransId="{DDFF8A45-6189-4862-9898-208024006BA2}" sibTransId="{F66B7FE6-D674-4957-AB1E-356725EED13D}"/>
    <dgm:cxn modelId="{C210DCD5-EE49-414E-BD88-AE95E8DD960B}" srcId="{C3F6C105-28AD-486E-A1DF-D63F663553AD}" destId="{7540EBED-EFBD-42E2-B6AB-A7E4B806BDB2}" srcOrd="2" destOrd="0" parTransId="{9EC2EB14-F658-4E49-80EB-31CBD240B78B}" sibTransId="{6394A65B-0E74-410F-A176-7C70540F3F66}"/>
    <dgm:cxn modelId="{180567CB-396E-44F1-B992-E3CB4A40A772}" srcId="{BDCCEC16-E555-4370-B34D-5442F320E573}" destId="{C5593735-1862-4093-86B8-DE3961E99AB2}" srcOrd="1" destOrd="0" parTransId="{B885E1C5-7F80-4C16-9446-D8FB941241C0}" sibTransId="{37039AB7-E0CE-4C36-80A8-67D649B0720D}"/>
    <dgm:cxn modelId="{82DCBBFD-7866-4912-8AD7-425E8E7B1DF1}" srcId="{3FC69CAD-E6CE-49C1-9853-A6518733D742}" destId="{58915889-04EE-443C-B608-15BF9BE5625C}" srcOrd="1" destOrd="0" parTransId="{CD130890-BE7E-42E8-9D3C-A75B9D2929E6}" sibTransId="{5DC6A5D9-197F-4C98-9D09-DFFC42E0C980}"/>
    <dgm:cxn modelId="{FC5719D6-5F13-477F-9B84-AC7F4D5388AB}" srcId="{2DF5845F-E145-43F2-A171-DC10421FC9A3}" destId="{89DC0469-FF1B-4FAC-A926-95EC8B163908}" srcOrd="1" destOrd="0" parTransId="{29D4572C-41B5-4C03-A925-650E758756B5}" sibTransId="{9FA04664-747D-4249-92CE-61E838EB6FDA}"/>
    <dgm:cxn modelId="{8DCC4D0C-EC60-4C7A-AEDF-8481B7A69604}" srcId="{C5593735-1862-4093-86B8-DE3961E99AB2}" destId="{65608C43-BAEA-4322-8DE8-15D64B1A515B}" srcOrd="0" destOrd="0" parTransId="{EFE6C41B-E302-4AA8-9F94-350ED72A481F}" sibTransId="{28EC4513-A62F-4052-B5FB-525857E3A519}"/>
    <dgm:cxn modelId="{DC473A1E-C590-4AD2-847E-5F52E5F429A4}" srcId="{C3F6C105-28AD-486E-A1DF-D63F663553AD}" destId="{93A13F06-511A-42B6-96A9-0EDC9E245A8B}" srcOrd="1" destOrd="0" parTransId="{2097D9E7-F015-4922-A53B-B8E3266A974C}" sibTransId="{F57FCC4A-90DB-4BCC-B542-EDC28491263F}"/>
    <dgm:cxn modelId="{0159A0F2-775D-423D-90BB-1E242D5C3CE9}" type="presOf" srcId="{64527FB9-44F0-4585-9B08-FE896F421C2A}" destId="{8663C2DC-84AB-4BE7-9FA4-CD6B36392FCB}" srcOrd="0" destOrd="7" presId="urn:microsoft.com/office/officeart/2005/8/layout/pList2"/>
    <dgm:cxn modelId="{4D4E9315-CD10-440E-A8AD-4D6F3C80C7C5}" srcId="{0441ADB8-506F-44BE-984F-1B432065574A}" destId="{6D93A495-6BB7-4143-9254-9282478C6555}" srcOrd="0" destOrd="0" parTransId="{85DBC4BD-786C-4881-B14C-DC39ADE39E6F}" sibTransId="{212AA880-0C7F-4904-B587-41D2637AC975}"/>
    <dgm:cxn modelId="{3F8F4F07-E6DC-481E-B84D-0E9FDB2CE803}" type="presOf" srcId="{EBCB2525-4071-4AE0-9139-D07F634F9937}" destId="{52B6F5A3-B6ED-4CD1-9C32-CD5213C6CF52}" srcOrd="0" destOrd="2" presId="urn:microsoft.com/office/officeart/2005/8/layout/pList2"/>
    <dgm:cxn modelId="{67329337-567D-4D31-A067-FACADF343185}" type="presOf" srcId="{7540EBED-EFBD-42E2-B6AB-A7E4B806BDB2}" destId="{52B6F5A3-B6ED-4CD1-9C32-CD5213C6CF52}" srcOrd="0" destOrd="8" presId="urn:microsoft.com/office/officeart/2005/8/layout/pList2"/>
    <dgm:cxn modelId="{09F8D4C2-CE8E-43A1-B9D6-EB1314097A26}" srcId="{2DF5845F-E145-43F2-A171-DC10421FC9A3}" destId="{0441ADB8-506F-44BE-984F-1B432065574A}" srcOrd="0" destOrd="0" parTransId="{52FC6422-8CDB-4552-B434-22C90A11A026}" sibTransId="{A92B97FC-73BA-4A45-BE8C-12C8825E4464}"/>
    <dgm:cxn modelId="{3A481BAC-30CD-4714-8ECC-F47CBF6F09D5}" srcId="{616CB614-7001-4B74-BA5A-9A9AFEA71649}" destId="{EBCB2525-4071-4AE0-9139-D07F634F9937}" srcOrd="0" destOrd="0" parTransId="{1EDE7A3E-257F-4A13-9060-3800376428BA}" sibTransId="{752EBA0B-69EA-4855-9808-ED787DF6BC8E}"/>
    <dgm:cxn modelId="{03058C8E-1A15-4EC1-8E23-8D3A4536ABE8}" srcId="{16E69697-452B-4937-B38E-A603C04687D8}" destId="{8D00209A-8093-4F5C-8E51-2A1F92A186FA}" srcOrd="2" destOrd="0" parTransId="{37B985CC-7BC3-4B48-A283-E06058F6694E}" sibTransId="{65D474AC-0ECA-4187-A6ED-510A4DE8022A}"/>
    <dgm:cxn modelId="{8BCA1B75-ECE9-41D3-BF40-251D729F348A}" type="presOf" srcId="{3FC69CAD-E6CE-49C1-9853-A6518733D742}" destId="{2C6D7BD5-A1F2-482B-BE8E-F42EC77518A9}" srcOrd="0" destOrd="5" presId="urn:microsoft.com/office/officeart/2005/8/layout/pList2"/>
    <dgm:cxn modelId="{1BFB9051-12B3-40BD-A67E-867F9ACE9551}" type="presOf" srcId="{89DC0469-FF1B-4FAC-A926-95EC8B163908}" destId="{8663C2DC-84AB-4BE7-9FA4-CD6B36392FCB}" srcOrd="0" destOrd="3" presId="urn:microsoft.com/office/officeart/2005/8/layout/pList2"/>
    <dgm:cxn modelId="{AEFC0EE0-8306-49D8-BC8C-85BAE5861498}" type="presOf" srcId="{C3F6C105-28AD-486E-A1DF-D63F663553AD}" destId="{52B6F5A3-B6ED-4CD1-9C32-CD5213C6CF52}" srcOrd="0" destOrd="5" presId="urn:microsoft.com/office/officeart/2005/8/layout/pList2"/>
    <dgm:cxn modelId="{9E780B56-ED74-4A79-AF72-B703468C8BC3}" type="presOf" srcId="{3F5FBC42-9F86-4057-8375-EC991A74C938}" destId="{2C6D7BD5-A1F2-482B-BE8E-F42EC77518A9}" srcOrd="0" destOrd="10" presId="urn:microsoft.com/office/officeart/2005/8/layout/pList2"/>
    <dgm:cxn modelId="{9FBAAFC0-8D9F-4A81-A0E1-25633C4522A4}" srcId="{55C6902B-117B-406D-B1BB-A2BC3E1C7443}" destId="{BDCCEC16-E555-4370-B34D-5442F320E573}" srcOrd="0" destOrd="0" parTransId="{F93529C7-5C1B-4543-B88D-8ECCE999692B}" sibTransId="{98852CBE-5715-466B-AD8F-E12ACF097BE1}"/>
    <dgm:cxn modelId="{E1D55C7F-3251-4060-B0E9-133B104AB1A1}" srcId="{16E69697-452B-4937-B38E-A603C04687D8}" destId="{098C3EF2-85A1-4976-8F2D-71EC6938C586}" srcOrd="9" destOrd="0" parTransId="{A983315E-C933-424E-BA86-F260E2D8308E}" sibTransId="{C860949A-12C1-42F0-B63D-DD65AD9235CE}"/>
    <dgm:cxn modelId="{620C8ED3-3007-4E7A-B998-C0D3036385D5}" type="presOf" srcId="{74FA0E9D-45D5-4B5F-A9E4-12C5FFC3C7B5}" destId="{2C6D7BD5-A1F2-482B-BE8E-F42EC77518A9}" srcOrd="0" destOrd="1" presId="urn:microsoft.com/office/officeart/2005/8/layout/pList2"/>
    <dgm:cxn modelId="{7AAB917E-F0BD-467D-AB05-46459DA7449C}" type="presOf" srcId="{BB2D715F-0DD4-4211-8F36-8E75FADCA7C1}" destId="{2C6D7BD5-A1F2-482B-BE8E-F42EC77518A9}" srcOrd="0" destOrd="8" presId="urn:microsoft.com/office/officeart/2005/8/layout/pList2"/>
    <dgm:cxn modelId="{20B0AFA2-59BA-49E3-86CF-0676BA623CFE}" type="presOf" srcId="{65608C43-BAEA-4322-8DE8-15D64B1A515B}" destId="{52B6F5A3-B6ED-4CD1-9C32-CD5213C6CF52}" srcOrd="0" destOrd="4" presId="urn:microsoft.com/office/officeart/2005/8/layout/pList2"/>
    <dgm:cxn modelId="{83C48663-5885-41A2-8CBA-23FD43DDD45B}" srcId="{BDCCEC16-E555-4370-B34D-5442F320E573}" destId="{616CB614-7001-4B74-BA5A-9A9AFEA71649}" srcOrd="0" destOrd="0" parTransId="{F3711F94-4901-4E2A-90CA-AFB3CC79E8F4}" sibTransId="{396E570A-DBAE-446A-A338-CAD39ADF0B69}"/>
    <dgm:cxn modelId="{0C39616D-704F-4B37-9210-0CDA0B5F5BEB}" type="presOf" srcId="{0441ADB8-506F-44BE-984F-1B432065574A}" destId="{8663C2DC-84AB-4BE7-9FA4-CD6B36392FCB}" srcOrd="0" destOrd="1" presId="urn:microsoft.com/office/officeart/2005/8/layout/pList2"/>
    <dgm:cxn modelId="{CB030AC5-1F46-40BC-8835-8BAEB5903DD0}" type="presOf" srcId="{3E357DCC-4152-4696-B602-7C9E31B1FBEE}" destId="{2C6D7BD5-A1F2-482B-BE8E-F42EC77518A9}" srcOrd="0" destOrd="9" presId="urn:microsoft.com/office/officeart/2005/8/layout/pList2"/>
    <dgm:cxn modelId="{AF711DEF-AB41-448E-8090-209894FB87DD}" srcId="{BDCCEC16-E555-4370-B34D-5442F320E573}" destId="{C3F6C105-28AD-486E-A1DF-D63F663553AD}" srcOrd="2" destOrd="0" parTransId="{6FF77C9F-4E8D-421F-A1D6-AD1F294D3133}" sibTransId="{DA5914A8-4C0C-4B52-B1AA-61E78CD70300}"/>
    <dgm:cxn modelId="{287BAC74-E378-41FB-9DA3-B223FA0333B4}" type="presOf" srcId="{BEF2B3A1-E00D-4B9C-8797-0B85C3E49941}" destId="{E8C21E64-FADE-4ECC-8520-A2129043AC4B}" srcOrd="0" destOrd="2" presId="urn:microsoft.com/office/officeart/2005/8/layout/pList2"/>
    <dgm:cxn modelId="{CEDAE179-3594-4819-9ADC-9695E2051536}" type="presOf" srcId="{A919325A-E2C5-462A-A199-F3BE26F5D32A}" destId="{8663C2DC-84AB-4BE7-9FA4-CD6B36392FCB}" srcOrd="0" destOrd="5" presId="urn:microsoft.com/office/officeart/2005/8/layout/pList2"/>
    <dgm:cxn modelId="{EB1BF477-BA0C-44A3-A039-C4D82E22F838}" srcId="{C46FDCF1-4567-4B3D-A8AF-164B436BFD87}" destId="{E3C72AA5-B3C6-4E83-8A81-08EA640D3E7F}" srcOrd="0" destOrd="0" parTransId="{8F5DBF40-A5F5-4364-9A8F-83E8AEA1E646}" sibTransId="{900AC25D-C387-433E-9DB7-C30155E723B7}"/>
    <dgm:cxn modelId="{96374C47-2375-47B4-AE1C-AA8471E65A22}" srcId="{16E69697-452B-4937-B38E-A603C04687D8}" destId="{25A4F657-092F-4036-94AF-5793CB4606E7}" srcOrd="4" destOrd="0" parTransId="{FFBACCC3-693B-4F66-96E6-AAFAEF718BFF}" sibTransId="{C93BA523-DC3B-43A9-BED6-55FB68AE7845}"/>
    <dgm:cxn modelId="{D11C92AB-A15F-49E7-8325-BDA1B487C14B}" type="presOf" srcId="{977E2843-9D92-4FBA-9B6E-3A263926A6FD}" destId="{E8C21E64-FADE-4ECC-8520-A2129043AC4B}" srcOrd="0" destOrd="6" presId="urn:microsoft.com/office/officeart/2005/8/layout/pList2"/>
    <dgm:cxn modelId="{0A708DBD-A1D1-47F7-B672-01A7DCC1A1C7}" srcId="{74FA0E9D-45D5-4B5F-A9E4-12C5FFC3C7B5}" destId="{E71CB147-02D6-47A9-8E47-4A097A4AE10F}" srcOrd="0" destOrd="0" parTransId="{34A4FD02-F901-455D-B395-CB2EEC7CC1E3}" sibTransId="{1FD2D113-E6A9-48F8-AD14-4E3511D9228E}"/>
    <dgm:cxn modelId="{8A6B8034-17CF-4852-B2CD-852302F1F9E2}" srcId="{55C6902B-117B-406D-B1BB-A2BC3E1C7443}" destId="{54F7B543-6981-4C3B-9321-57174ECCB5D4}" srcOrd="1" destOrd="0" parTransId="{FE46FA80-3F7F-4376-AA3E-6F2776B952FF}" sibTransId="{4649C63C-93AB-4F9D-BC5D-3F96A02CEF40}"/>
    <dgm:cxn modelId="{590695BC-4A05-4441-8C89-4BC5DAE7E405}" srcId="{16E69697-452B-4937-B38E-A603C04687D8}" destId="{B22932C7-D53B-4789-AE91-6313DBB47A24}" srcOrd="6" destOrd="0" parTransId="{92FDF0D7-C40D-44E9-80DE-425955535223}" sibTransId="{A6E9743A-F249-4CD7-AE4D-42055D7C897B}"/>
    <dgm:cxn modelId="{623E583F-C4A8-46FD-A087-A51F32705C36}" type="presOf" srcId="{93A13F06-511A-42B6-96A9-0EDC9E245A8B}" destId="{52B6F5A3-B6ED-4CD1-9C32-CD5213C6CF52}" srcOrd="0" destOrd="7" presId="urn:microsoft.com/office/officeart/2005/8/layout/pList2"/>
    <dgm:cxn modelId="{490E673B-4131-4258-9422-0B843A18863B}" type="presOf" srcId="{4EC1CB67-17A7-4934-9A72-6567BE5AE5F9}" destId="{8663C2DC-84AB-4BE7-9FA4-CD6B36392FCB}" srcOrd="0" destOrd="4" presId="urn:microsoft.com/office/officeart/2005/8/layout/pList2"/>
    <dgm:cxn modelId="{76DD782B-3A3D-4E8B-8132-2F0A34D832EE}" type="presOf" srcId="{B22932C7-D53B-4789-AE91-6313DBB47A24}" destId="{E8C21E64-FADE-4ECC-8520-A2129043AC4B}" srcOrd="0" destOrd="7" presId="urn:microsoft.com/office/officeart/2005/8/layout/pList2"/>
    <dgm:cxn modelId="{62B2AEA9-187C-4182-8A6B-DFD8B2FB763D}" srcId="{58915889-04EE-443C-B608-15BF9BE5625C}" destId="{6DDD1FAD-C287-420D-A12F-042600887B4A}" srcOrd="3" destOrd="0" parTransId="{A53DA8E6-A051-4F85-AAD5-E04C629C1576}" sibTransId="{7B8485BE-DA60-41C9-9C0E-E77DEE9FA0ED}"/>
    <dgm:cxn modelId="{45D95A34-66F7-40CE-AB8A-D004E53D9D6D}" type="presOf" srcId="{55C6902B-117B-406D-B1BB-A2BC3E1C7443}" destId="{02EFE62A-3053-4C0A-94E2-F106307C8C04}" srcOrd="0" destOrd="0" presId="urn:microsoft.com/office/officeart/2005/8/layout/pList2"/>
    <dgm:cxn modelId="{AA3033BD-1CD2-4A65-8B22-FE4500322857}" type="presOf" srcId="{9C9A146F-E245-41A6-AAF1-AE2D6F21A779}" destId="{8663C2DC-84AB-4BE7-9FA4-CD6B36392FCB}" srcOrd="0" destOrd="6" presId="urn:microsoft.com/office/officeart/2005/8/layout/pList2"/>
    <dgm:cxn modelId="{24ED37C8-E93C-489A-AF1F-018C0029F7F5}" type="presOf" srcId="{8D00209A-8093-4F5C-8E51-2A1F92A186FA}" destId="{E8C21E64-FADE-4ECC-8520-A2129043AC4B}" srcOrd="0" destOrd="3" presId="urn:microsoft.com/office/officeart/2005/8/layout/pList2"/>
    <dgm:cxn modelId="{CBEB8C97-E6F5-4C23-9C92-EC88DBDB82BC}" type="presOf" srcId="{E68387FB-C6DA-4448-80C0-3E52B134C216}" destId="{2C6D7BD5-A1F2-482B-BE8E-F42EC77518A9}" srcOrd="0" destOrd="4" presId="urn:microsoft.com/office/officeart/2005/8/layout/pList2"/>
    <dgm:cxn modelId="{1F907A8E-EA16-4DAF-9D88-81D1D1C9A4EA}" type="presOf" srcId="{E3C72AA5-B3C6-4E83-8A81-08EA640D3E7F}" destId="{8663C2DC-84AB-4BE7-9FA4-CD6B36392FCB}" srcOrd="0" destOrd="9" presId="urn:microsoft.com/office/officeart/2005/8/layout/pList2"/>
    <dgm:cxn modelId="{3235F195-5CA1-4D98-8247-99AA5D3B877C}" type="presOf" srcId="{4649C63C-93AB-4F9D-BC5D-3F96A02CEF40}" destId="{DF1178CB-CC63-4CE1-948E-EBC617215044}" srcOrd="0" destOrd="0" presId="urn:microsoft.com/office/officeart/2005/8/layout/pList2"/>
    <dgm:cxn modelId="{29B97469-54AE-47E6-9CC7-0656C7E8FCF0}" type="presOf" srcId="{2F43BC38-B7E5-451C-A815-04E512019DB3}" destId="{8663C2DC-84AB-4BE7-9FA4-CD6B36392FCB}" srcOrd="0" destOrd="11" presId="urn:microsoft.com/office/officeart/2005/8/layout/pList2"/>
    <dgm:cxn modelId="{BB84D4F1-CF66-43E6-9AF4-15A79A60931D}" srcId="{58915889-04EE-443C-B608-15BF9BE5625C}" destId="{3F5FBC42-9F86-4057-8375-EC991A74C938}" srcOrd="2" destOrd="0" parTransId="{A52CB7C5-6170-4238-98F8-BF77FEE65A3D}" sibTransId="{F38FF187-324F-422F-A460-69DC7DF21FBF}"/>
    <dgm:cxn modelId="{E9A990D6-B3B3-4537-B099-6831BDA47DD3}" srcId="{54F7B543-6981-4C3B-9321-57174ECCB5D4}" destId="{74FA0E9D-45D5-4B5F-A9E4-12C5FFC3C7B5}" srcOrd="0" destOrd="0" parTransId="{0814A70A-2389-4816-B786-4BFB9A928150}" sibTransId="{54B6F8D8-7C97-4D56-A9FD-BE3AEE6403B5}"/>
    <dgm:cxn modelId="{DB61DC00-80C8-4A1B-BEEC-BDEBFF81E2F7}" srcId="{FC81402C-CF09-41EF-A621-DF4AC34DB796}" destId="{E68387FB-C6DA-4448-80C0-3E52B134C216}" srcOrd="0" destOrd="0" parTransId="{0EFD18E5-A062-448F-9AE2-A1DAFC380D78}" sibTransId="{7DB934C0-D47E-46EC-BE17-06B0404B5663}"/>
    <dgm:cxn modelId="{365E9AD5-33F8-4416-AF90-BAADD9671216}" type="presOf" srcId="{EDD4BEE3-4CCE-4620-B6D6-B9CF0BD1A119}" destId="{003319FC-B342-4F1F-A59B-C1AE22E17352}" srcOrd="0" destOrd="0" presId="urn:microsoft.com/office/officeart/2005/8/layout/pList2"/>
    <dgm:cxn modelId="{83088CB5-5B5E-42B8-9ADC-CEB66DCC29BA}" srcId="{16E69697-452B-4937-B38E-A603C04687D8}" destId="{977E2843-9D92-4FBA-9B6E-3A263926A6FD}" srcOrd="5" destOrd="0" parTransId="{874A9310-713E-42B7-A63D-64176798141A}" sibTransId="{B992C93F-5B5C-4BE4-83F4-87BE2104AD91}"/>
    <dgm:cxn modelId="{82AFFA8A-EC2B-43BA-A389-AD1C9A62D2C9}" srcId="{9C9A146F-E245-41A6-AAF1-AE2D6F21A779}" destId="{64527FB9-44F0-4585-9B08-FE896F421C2A}" srcOrd="0" destOrd="0" parTransId="{D00FC479-958C-469A-837B-6D1B839B8422}" sibTransId="{631F96C7-FBCB-4087-B703-4CD9727513F3}"/>
    <dgm:cxn modelId="{60DE058F-657F-4812-8A6E-B1A8862CB3A9}" type="presOf" srcId="{C5593735-1862-4093-86B8-DE3961E99AB2}" destId="{52B6F5A3-B6ED-4CD1-9C32-CD5213C6CF52}" srcOrd="0" destOrd="3" presId="urn:microsoft.com/office/officeart/2005/8/layout/pList2"/>
    <dgm:cxn modelId="{0C8C0BFF-AA47-4BF9-B3C0-EEC4A5D43685}" srcId="{54F7B543-6981-4C3B-9321-57174ECCB5D4}" destId="{FC81402C-CF09-41EF-A621-DF4AC34DB796}" srcOrd="1" destOrd="0" parTransId="{8530A87E-F14B-467B-AF19-61AEC6F76C36}" sibTransId="{3F5D2520-F4A5-4EB5-B16F-A2E28FC2ADDA}"/>
    <dgm:cxn modelId="{44E6494D-F3A9-4708-B4D2-E148D61BA520}" srcId="{16E69697-452B-4937-B38E-A603C04687D8}" destId="{C463BEA7-C2FC-402B-85FE-56EEB9D0267C}" srcOrd="0" destOrd="0" parTransId="{DEF31CB2-BD7E-4397-AEF5-B5F61647E2DE}" sibTransId="{D7B61385-E475-4C53-BD40-8AA95128C69C}"/>
    <dgm:cxn modelId="{C63C0070-C982-4C75-B3E6-660854215D07}" srcId="{89DC0469-FF1B-4FAC-A926-95EC8B163908}" destId="{4EC1CB67-17A7-4934-9A72-6567BE5AE5F9}" srcOrd="0" destOrd="0" parTransId="{21100385-A4DF-4C8C-B3CF-B90B4B247726}" sibTransId="{16601636-B7A9-4EEB-B1CB-B9C63B8CB19E}"/>
    <dgm:cxn modelId="{ED32245C-A4E1-4691-9A35-76AAE53B762C}" type="presOf" srcId="{6DDD1FAD-C287-420D-A12F-042600887B4A}" destId="{2C6D7BD5-A1F2-482B-BE8E-F42EC77518A9}" srcOrd="0" destOrd="11" presId="urn:microsoft.com/office/officeart/2005/8/layout/pList2"/>
    <dgm:cxn modelId="{6FF73411-CFD3-4628-B784-585D94C687F0}" srcId="{55C6902B-117B-406D-B1BB-A2BC3E1C7443}" destId="{2DF5845F-E145-43F2-A171-DC10421FC9A3}" srcOrd="2" destOrd="0" parTransId="{3B1AB83F-5649-4D3D-B001-46BDB2C109FC}" sibTransId="{EDD4BEE3-4CCE-4620-B6D6-B9CF0BD1A119}"/>
    <dgm:cxn modelId="{3ADDFF99-C9AB-4BF8-8F3A-15BEDF479E1B}" srcId="{58915889-04EE-443C-B608-15BF9BE5625C}" destId="{BB2D715F-0DD4-4211-8F36-8E75FADCA7C1}" srcOrd="0" destOrd="0" parTransId="{2C243CF7-BDE0-4470-A588-682B07439C66}" sibTransId="{C941CBE5-7B6D-49E7-A0AF-76EB03E05C51}"/>
    <dgm:cxn modelId="{78916AD5-6053-4B2F-8004-2C3443F73E45}" srcId="{54F7B543-6981-4C3B-9321-57174ECCB5D4}" destId="{3FC69CAD-E6CE-49C1-9853-A6518733D742}" srcOrd="2" destOrd="0" parTransId="{F4D5121E-3F6F-4D07-8DA9-7591AEFB7F05}" sibTransId="{B9E1923F-8ABB-4BF3-944C-C561A9A00D08}"/>
    <dgm:cxn modelId="{00402957-E640-47DC-97DC-F2E21145B075}" srcId="{9C9A146F-E245-41A6-AAF1-AE2D6F21A779}" destId="{2F43BC38-B7E5-451C-A815-04E512019DB3}" srcOrd="2" destOrd="0" parTransId="{F5A490B3-5C34-4A70-BF01-6C88241163CF}" sibTransId="{58B62232-2BA6-45AD-8509-0E02E018B6BF}"/>
    <dgm:cxn modelId="{890FE6C0-23E8-491E-874D-C2F40B3AEEAD}" srcId="{C46FDCF1-4567-4B3D-A8AF-164B436BFD87}" destId="{3F4ECFE2-0AD9-438F-AA16-8A7531673F41}" srcOrd="1" destOrd="0" parTransId="{35435D37-1CC5-47A5-BAD4-3DEBDBBCE515}" sibTransId="{ADC252B3-B954-4882-8BEF-7CD0BEB682BA}"/>
    <dgm:cxn modelId="{8A2DD65C-C684-4EDD-8DB2-78DF26F5B3B5}" type="presOf" srcId="{098C3EF2-85A1-4976-8F2D-71EC6938C586}" destId="{E8C21E64-FADE-4ECC-8520-A2129043AC4B}" srcOrd="0" destOrd="10" presId="urn:microsoft.com/office/officeart/2005/8/layout/pList2"/>
    <dgm:cxn modelId="{B7545C38-56EF-40EB-A440-A84636FAF9B5}" type="presOf" srcId="{7D42D557-3871-4643-AA33-CDC834252D3F}" destId="{2C6D7BD5-A1F2-482B-BE8E-F42EC77518A9}" srcOrd="0" destOrd="6" presId="urn:microsoft.com/office/officeart/2005/8/layout/pList2"/>
    <dgm:cxn modelId="{77AE2EB4-F41F-4980-A99A-56B6184C3099}" type="presOf" srcId="{98852CBE-5715-466B-AD8F-E12ACF097BE1}" destId="{B04D4151-F14D-4D25-B22F-A48867F039EB}" srcOrd="0" destOrd="0" presId="urn:microsoft.com/office/officeart/2005/8/layout/pList2"/>
    <dgm:cxn modelId="{9297688F-D0C2-45D6-A22D-3D819B00E84C}" type="presParOf" srcId="{02EFE62A-3053-4C0A-94E2-F106307C8C04}" destId="{712F5380-8935-4253-98B7-827781CCAAB4}" srcOrd="0" destOrd="0" presId="urn:microsoft.com/office/officeart/2005/8/layout/pList2"/>
    <dgm:cxn modelId="{6940BA45-9772-4A88-8647-ADCFFD681710}" type="presParOf" srcId="{02EFE62A-3053-4C0A-94E2-F106307C8C04}" destId="{0744DEB5-A4BE-4342-AE68-78627AB5EE97}" srcOrd="1" destOrd="0" presId="urn:microsoft.com/office/officeart/2005/8/layout/pList2"/>
    <dgm:cxn modelId="{E2D3ADFA-C6BB-4F30-99B8-6AC9F068FF21}" type="presParOf" srcId="{0744DEB5-A4BE-4342-AE68-78627AB5EE97}" destId="{6E66C84C-5EF4-40E6-A601-F0C92FAC0BC7}" srcOrd="0" destOrd="0" presId="urn:microsoft.com/office/officeart/2005/8/layout/pList2"/>
    <dgm:cxn modelId="{62F0C2F6-A738-4F15-B7AD-09E9289D8120}" type="presParOf" srcId="{6E66C84C-5EF4-40E6-A601-F0C92FAC0BC7}" destId="{52B6F5A3-B6ED-4CD1-9C32-CD5213C6CF52}" srcOrd="0" destOrd="0" presId="urn:microsoft.com/office/officeart/2005/8/layout/pList2"/>
    <dgm:cxn modelId="{833F7F84-A1B5-4ABD-9012-6C69F4E3DD48}" type="presParOf" srcId="{6E66C84C-5EF4-40E6-A601-F0C92FAC0BC7}" destId="{A7B51519-6305-48BF-B9E8-EE7E8EEAB0D0}" srcOrd="1" destOrd="0" presId="urn:microsoft.com/office/officeart/2005/8/layout/pList2"/>
    <dgm:cxn modelId="{C88E107F-20F4-4887-9881-950EACEEB11C}" type="presParOf" srcId="{6E66C84C-5EF4-40E6-A601-F0C92FAC0BC7}" destId="{004663AB-3284-4718-A01C-E5540C9C185B}" srcOrd="2" destOrd="0" presId="urn:microsoft.com/office/officeart/2005/8/layout/pList2"/>
    <dgm:cxn modelId="{8DC08CF2-6CC6-4E7E-B6FE-488A343271A7}" type="presParOf" srcId="{0744DEB5-A4BE-4342-AE68-78627AB5EE97}" destId="{B04D4151-F14D-4D25-B22F-A48867F039EB}" srcOrd="1" destOrd="0" presId="urn:microsoft.com/office/officeart/2005/8/layout/pList2"/>
    <dgm:cxn modelId="{9900642A-9270-4E56-BFCE-6CD6AE7E9E23}" type="presParOf" srcId="{0744DEB5-A4BE-4342-AE68-78627AB5EE97}" destId="{09ED19F8-54A8-4133-9B6B-5BCE744B0C20}" srcOrd="2" destOrd="0" presId="urn:microsoft.com/office/officeart/2005/8/layout/pList2"/>
    <dgm:cxn modelId="{25CFFA3C-5E03-4F9D-8F87-482C957983D5}" type="presParOf" srcId="{09ED19F8-54A8-4133-9B6B-5BCE744B0C20}" destId="{2C6D7BD5-A1F2-482B-BE8E-F42EC77518A9}" srcOrd="0" destOrd="0" presId="urn:microsoft.com/office/officeart/2005/8/layout/pList2"/>
    <dgm:cxn modelId="{FCAF9599-95E8-48F1-96CB-E518CDEE18E4}" type="presParOf" srcId="{09ED19F8-54A8-4133-9B6B-5BCE744B0C20}" destId="{89A83B9E-D833-4372-B9A5-2D03FC94A0C7}" srcOrd="1" destOrd="0" presId="urn:microsoft.com/office/officeart/2005/8/layout/pList2"/>
    <dgm:cxn modelId="{EB9D31C0-14BA-438B-8062-60A7A98139C4}" type="presParOf" srcId="{09ED19F8-54A8-4133-9B6B-5BCE744B0C20}" destId="{46293599-CD18-456C-B523-2643D9780D34}" srcOrd="2" destOrd="0" presId="urn:microsoft.com/office/officeart/2005/8/layout/pList2"/>
    <dgm:cxn modelId="{C91AC05A-326E-4AFD-9192-B3F9BD2D20CE}" type="presParOf" srcId="{0744DEB5-A4BE-4342-AE68-78627AB5EE97}" destId="{DF1178CB-CC63-4CE1-948E-EBC617215044}" srcOrd="3" destOrd="0" presId="urn:microsoft.com/office/officeart/2005/8/layout/pList2"/>
    <dgm:cxn modelId="{E98099A3-DA69-49B6-94CF-E02C5EDBB9D1}" type="presParOf" srcId="{0744DEB5-A4BE-4342-AE68-78627AB5EE97}" destId="{9FC48F0F-7201-4B3A-912A-3F7EC4499B21}" srcOrd="4" destOrd="0" presId="urn:microsoft.com/office/officeart/2005/8/layout/pList2"/>
    <dgm:cxn modelId="{F29E9834-F1A4-4F70-B8C5-0CE7314B857F}" type="presParOf" srcId="{9FC48F0F-7201-4B3A-912A-3F7EC4499B21}" destId="{8663C2DC-84AB-4BE7-9FA4-CD6B36392FCB}" srcOrd="0" destOrd="0" presId="urn:microsoft.com/office/officeart/2005/8/layout/pList2"/>
    <dgm:cxn modelId="{077887DC-174F-4323-942A-8E097DBF709F}" type="presParOf" srcId="{9FC48F0F-7201-4B3A-912A-3F7EC4499B21}" destId="{72AC4CD8-9A7F-4E6E-88C6-6A9FE42A54BB}" srcOrd="1" destOrd="0" presId="urn:microsoft.com/office/officeart/2005/8/layout/pList2"/>
    <dgm:cxn modelId="{67CF7317-9E1C-49CE-84A2-4DDAE92830CA}" type="presParOf" srcId="{9FC48F0F-7201-4B3A-912A-3F7EC4499B21}" destId="{82F78160-1442-452D-8541-31D68F328FFD}" srcOrd="2" destOrd="0" presId="urn:microsoft.com/office/officeart/2005/8/layout/pList2"/>
    <dgm:cxn modelId="{11F7919F-16DB-4A54-9BB0-B7ABBE0E80AA}" type="presParOf" srcId="{0744DEB5-A4BE-4342-AE68-78627AB5EE97}" destId="{003319FC-B342-4F1F-A59B-C1AE22E17352}" srcOrd="5" destOrd="0" presId="urn:microsoft.com/office/officeart/2005/8/layout/pList2"/>
    <dgm:cxn modelId="{A1A29FAD-7A41-4DB3-B851-D106A22D6B91}" type="presParOf" srcId="{0744DEB5-A4BE-4342-AE68-78627AB5EE97}" destId="{859ACEEC-942C-4C55-AA21-7048503883C5}" srcOrd="6" destOrd="0" presId="urn:microsoft.com/office/officeart/2005/8/layout/pList2"/>
    <dgm:cxn modelId="{8DE354D0-1D35-40DB-998D-7CD27014A219}" type="presParOf" srcId="{859ACEEC-942C-4C55-AA21-7048503883C5}" destId="{E8C21E64-FADE-4ECC-8520-A2129043AC4B}" srcOrd="0" destOrd="0" presId="urn:microsoft.com/office/officeart/2005/8/layout/pList2"/>
    <dgm:cxn modelId="{21188854-27E3-47F4-8C03-D2792F949F1D}" type="presParOf" srcId="{859ACEEC-942C-4C55-AA21-7048503883C5}" destId="{44935385-43AB-4D6E-A696-B4471EE3ED03}" srcOrd="1" destOrd="0" presId="urn:microsoft.com/office/officeart/2005/8/layout/pList2"/>
    <dgm:cxn modelId="{965026EB-D825-43F4-84BF-CC942403D2D8}" type="presParOf" srcId="{859ACEEC-942C-4C55-AA21-7048503883C5}" destId="{98E929B9-8BAA-4422-90E7-ABE3057DD78E}"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C6902B-117B-406D-B1BB-A2BC3E1C7443}" type="doc">
      <dgm:prSet loTypeId="urn:microsoft.com/office/officeart/2005/8/layout/pList2" loCatId="list" qsTypeId="urn:microsoft.com/office/officeart/2005/8/quickstyle/simple1" qsCatId="simple" csTypeId="urn:microsoft.com/office/officeart/2005/8/colors/accent1_2" csCatId="accent1" phldr="1"/>
      <dgm:spPr/>
    </dgm:pt>
    <dgm:pt modelId="{BDCCEC16-E555-4370-B34D-5442F320E573}">
      <dgm:prSet phldrT="[Tekst]"/>
      <dgm:spPr/>
      <dgm:t>
        <a:bodyPr/>
        <a:lstStyle/>
        <a:p>
          <a:r>
            <a:rPr lang="da-DK" dirty="0" smtClean="0"/>
            <a:t>GSU/ALM</a:t>
          </a:r>
          <a:endParaRPr lang="da-DK" dirty="0"/>
        </a:p>
      </dgm:t>
    </dgm:pt>
    <dgm:pt modelId="{F93529C7-5C1B-4543-B88D-8ECCE999692B}" type="parTrans" cxnId="{9FBAAFC0-8D9F-4A81-A0E1-25633C4522A4}">
      <dgm:prSet/>
      <dgm:spPr/>
      <dgm:t>
        <a:bodyPr/>
        <a:lstStyle/>
        <a:p>
          <a:endParaRPr lang="da-DK"/>
        </a:p>
      </dgm:t>
    </dgm:pt>
    <dgm:pt modelId="{98852CBE-5715-466B-AD8F-E12ACF097BE1}" type="sibTrans" cxnId="{9FBAAFC0-8D9F-4A81-A0E1-25633C4522A4}">
      <dgm:prSet/>
      <dgm:spPr/>
      <dgm:t>
        <a:bodyPr/>
        <a:lstStyle/>
        <a:p>
          <a:endParaRPr lang="da-DK"/>
        </a:p>
      </dgm:t>
    </dgm:pt>
    <dgm:pt modelId="{54F7B543-6981-4C3B-9321-57174ECCB5D4}">
      <dgm:prSet phldrT="[Tekst]"/>
      <dgm:spPr/>
      <dgm:t>
        <a:bodyPr/>
        <a:lstStyle/>
        <a:p>
          <a:r>
            <a:rPr lang="da-DK" dirty="0" smtClean="0"/>
            <a:t>GSU/STP</a:t>
          </a:r>
          <a:endParaRPr lang="da-DK" dirty="0"/>
        </a:p>
      </dgm:t>
    </dgm:pt>
    <dgm:pt modelId="{FE46FA80-3F7F-4376-AA3E-6F2776B952FF}" type="parTrans" cxnId="{8A6B8034-17CF-4852-B2CD-852302F1F9E2}">
      <dgm:prSet/>
      <dgm:spPr/>
      <dgm:t>
        <a:bodyPr/>
        <a:lstStyle/>
        <a:p>
          <a:endParaRPr lang="da-DK"/>
        </a:p>
      </dgm:t>
    </dgm:pt>
    <dgm:pt modelId="{4649C63C-93AB-4F9D-BC5D-3F96A02CEF40}" type="sibTrans" cxnId="{8A6B8034-17CF-4852-B2CD-852302F1F9E2}">
      <dgm:prSet/>
      <dgm:spPr/>
      <dgm:t>
        <a:bodyPr/>
        <a:lstStyle/>
        <a:p>
          <a:endParaRPr lang="da-DK"/>
        </a:p>
      </dgm:t>
    </dgm:pt>
    <dgm:pt modelId="{3DEED9EB-3768-49C7-A125-077DC13AE8E3}">
      <dgm:prSet phldrT="[Tekst]"/>
      <dgm:spPr/>
      <dgm:t>
        <a:bodyPr/>
        <a:lstStyle/>
        <a:p>
          <a:r>
            <a:rPr lang="da-DK" dirty="0" smtClean="0"/>
            <a:t>7½ </a:t>
          </a:r>
          <a:r>
            <a:rPr lang="da-DK" dirty="0" smtClean="0"/>
            <a:t>mdr.</a:t>
          </a:r>
          <a:endParaRPr lang="da-DK" dirty="0"/>
        </a:p>
      </dgm:t>
    </dgm:pt>
    <dgm:pt modelId="{84A24B0C-64C8-432F-8C2A-C1C13C54217B}" type="parTrans" cxnId="{F99245E2-45EE-4E2A-9E09-1E4603FC601A}">
      <dgm:prSet/>
      <dgm:spPr/>
      <dgm:t>
        <a:bodyPr/>
        <a:lstStyle/>
        <a:p>
          <a:endParaRPr lang="da-DK"/>
        </a:p>
      </dgm:t>
    </dgm:pt>
    <dgm:pt modelId="{F66C550C-C82D-4A38-B642-EF97B4BBBB6C}" type="sibTrans" cxnId="{F99245E2-45EE-4E2A-9E09-1E4603FC601A}">
      <dgm:prSet/>
      <dgm:spPr/>
      <dgm:t>
        <a:bodyPr/>
        <a:lstStyle/>
        <a:p>
          <a:endParaRPr lang="da-DK"/>
        </a:p>
      </dgm:t>
    </dgm:pt>
    <dgm:pt modelId="{A29855E9-0580-4B2B-A0B7-1244EFCC6619}">
      <dgm:prSet phldrT="[Tekst]"/>
      <dgm:spPr/>
      <dgm:t>
        <a:bodyPr/>
        <a:lstStyle/>
        <a:p>
          <a:endParaRPr lang="da-DK" dirty="0"/>
        </a:p>
      </dgm:t>
    </dgm:pt>
    <dgm:pt modelId="{3B07D430-C531-4068-A14E-BB92B569BBB2}" type="parTrans" cxnId="{7F3004B7-CBBA-44C5-A381-F375BEACD369}">
      <dgm:prSet/>
      <dgm:spPr/>
      <dgm:t>
        <a:bodyPr/>
        <a:lstStyle/>
        <a:p>
          <a:endParaRPr lang="da-DK"/>
        </a:p>
      </dgm:t>
    </dgm:pt>
    <dgm:pt modelId="{861600B1-DA40-491F-99AB-1DFF0B1D9C66}" type="sibTrans" cxnId="{7F3004B7-CBBA-44C5-A381-F375BEACD369}">
      <dgm:prSet/>
      <dgm:spPr/>
      <dgm:t>
        <a:bodyPr/>
        <a:lstStyle/>
        <a:p>
          <a:endParaRPr lang="da-DK"/>
        </a:p>
      </dgm:t>
    </dgm:pt>
    <dgm:pt modelId="{8D565D85-83D1-4CF0-B714-6A608B197EBA}">
      <dgm:prSet phldrT="[Tekst]"/>
      <dgm:spPr/>
      <dgm:t>
        <a:bodyPr/>
        <a:lstStyle/>
        <a:p>
          <a:r>
            <a:rPr lang="da-DK" dirty="0" smtClean="0"/>
            <a:t>Taktisk FØ</a:t>
          </a:r>
          <a:endParaRPr lang="da-DK" dirty="0"/>
        </a:p>
      </dgm:t>
    </dgm:pt>
    <dgm:pt modelId="{655DE7C7-E5F7-45A1-AD72-4C6E048D49F8}" type="parTrans" cxnId="{58008417-A3B0-41C3-AB28-F1C401F5371D}">
      <dgm:prSet/>
      <dgm:spPr/>
      <dgm:t>
        <a:bodyPr/>
        <a:lstStyle/>
        <a:p>
          <a:endParaRPr lang="da-DK"/>
        </a:p>
      </dgm:t>
    </dgm:pt>
    <dgm:pt modelId="{9F8F308B-DCC7-4AEF-AB69-826B95A175EE}" type="sibTrans" cxnId="{58008417-A3B0-41C3-AB28-F1C401F5371D}">
      <dgm:prSet/>
      <dgm:spPr/>
      <dgm:t>
        <a:bodyPr/>
        <a:lstStyle/>
        <a:p>
          <a:endParaRPr lang="da-DK"/>
        </a:p>
      </dgm:t>
    </dgm:pt>
    <dgm:pt modelId="{3192004C-521B-43B0-AC6E-D65F382304D5}">
      <dgm:prSet phldrT="[Tekst]"/>
      <dgm:spPr/>
      <dgm:t>
        <a:bodyPr/>
        <a:lstStyle/>
        <a:p>
          <a:r>
            <a:rPr lang="da-DK" dirty="0" smtClean="0"/>
            <a:t>Instruktør</a:t>
          </a:r>
          <a:endParaRPr lang="da-DK" dirty="0"/>
        </a:p>
      </dgm:t>
    </dgm:pt>
    <dgm:pt modelId="{4814F43F-1938-4F9C-9925-164B68355A49}" type="parTrans" cxnId="{3EB7E9C7-3E2E-4989-975F-B5A2511ACC46}">
      <dgm:prSet/>
      <dgm:spPr/>
      <dgm:t>
        <a:bodyPr/>
        <a:lstStyle/>
        <a:p>
          <a:endParaRPr lang="da-DK"/>
        </a:p>
      </dgm:t>
    </dgm:pt>
    <dgm:pt modelId="{14AF1BDE-A934-441E-B70C-E12FE65E171C}" type="sibTrans" cxnId="{3EB7E9C7-3E2E-4989-975F-B5A2511ACC46}">
      <dgm:prSet/>
      <dgm:spPr/>
      <dgm:t>
        <a:bodyPr/>
        <a:lstStyle/>
        <a:p>
          <a:endParaRPr lang="da-DK"/>
        </a:p>
      </dgm:t>
    </dgm:pt>
    <dgm:pt modelId="{D702BA43-DBDE-4921-813F-7CEB932262B4}">
      <dgm:prSet phldrT="[Tekst]"/>
      <dgm:spPr/>
      <dgm:t>
        <a:bodyPr/>
        <a:lstStyle/>
        <a:p>
          <a:r>
            <a:rPr lang="da-DK" dirty="0" smtClean="0"/>
            <a:t>SKYLE-I</a:t>
          </a:r>
          <a:endParaRPr lang="da-DK" dirty="0"/>
        </a:p>
      </dgm:t>
    </dgm:pt>
    <dgm:pt modelId="{0C1ECDAF-F673-4729-90AC-2D1CF3DF3E9E}" type="parTrans" cxnId="{B9ED922D-A123-44C1-9B08-D0BF34B49D53}">
      <dgm:prSet/>
      <dgm:spPr/>
      <dgm:t>
        <a:bodyPr/>
        <a:lstStyle/>
        <a:p>
          <a:endParaRPr lang="da-DK"/>
        </a:p>
      </dgm:t>
    </dgm:pt>
    <dgm:pt modelId="{3B8D150D-2254-4E32-A83F-CB837FA30D8C}" type="sibTrans" cxnId="{B9ED922D-A123-44C1-9B08-D0BF34B49D53}">
      <dgm:prSet/>
      <dgm:spPr/>
      <dgm:t>
        <a:bodyPr/>
        <a:lstStyle/>
        <a:p>
          <a:endParaRPr lang="da-DK"/>
        </a:p>
      </dgm:t>
    </dgm:pt>
    <dgm:pt modelId="{1A0169DA-809B-485F-878D-DE22DE5E648D}">
      <dgm:prSet phldrT="[Tekst]"/>
      <dgm:spPr/>
      <dgm:t>
        <a:bodyPr/>
        <a:lstStyle/>
        <a:p>
          <a:r>
            <a:rPr lang="da-DK" dirty="0" smtClean="0"/>
            <a:t>MFT-I</a:t>
          </a:r>
          <a:endParaRPr lang="da-DK" dirty="0"/>
        </a:p>
      </dgm:t>
    </dgm:pt>
    <dgm:pt modelId="{6C975893-F2AE-43C6-959E-DAAB79F52151}" type="parTrans" cxnId="{B0885120-E847-420C-92E2-DB8619088B95}">
      <dgm:prSet/>
      <dgm:spPr/>
      <dgm:t>
        <a:bodyPr/>
        <a:lstStyle/>
        <a:p>
          <a:endParaRPr lang="da-DK"/>
        </a:p>
      </dgm:t>
    </dgm:pt>
    <dgm:pt modelId="{6F72FB5B-1771-4EAF-8594-6D52ABCC3E16}" type="sibTrans" cxnId="{B0885120-E847-420C-92E2-DB8619088B95}">
      <dgm:prSet/>
      <dgm:spPr/>
      <dgm:t>
        <a:bodyPr/>
        <a:lstStyle/>
        <a:p>
          <a:endParaRPr lang="da-DK"/>
        </a:p>
      </dgm:t>
    </dgm:pt>
    <dgm:pt modelId="{938FBDA9-6ECD-45BA-BC67-8312E729F759}">
      <dgm:prSet phldrT="[Tekst]"/>
      <dgm:spPr/>
      <dgm:t>
        <a:bodyPr/>
        <a:lstStyle/>
        <a:p>
          <a:r>
            <a:rPr lang="da-DK" dirty="0" smtClean="0"/>
            <a:t>VB i GRP</a:t>
          </a:r>
          <a:endParaRPr lang="da-DK" dirty="0"/>
        </a:p>
      </dgm:t>
    </dgm:pt>
    <dgm:pt modelId="{CFD8E630-01B0-4DBA-AD11-27B91F805328}" type="parTrans" cxnId="{79945F72-D91D-4367-9745-2E161C1E6CCB}">
      <dgm:prSet/>
      <dgm:spPr/>
      <dgm:t>
        <a:bodyPr/>
        <a:lstStyle/>
        <a:p>
          <a:endParaRPr lang="da-DK"/>
        </a:p>
      </dgm:t>
    </dgm:pt>
    <dgm:pt modelId="{6E19ECA9-19A6-469D-B388-D5F3C0C11BA2}" type="sibTrans" cxnId="{79945F72-D91D-4367-9745-2E161C1E6CCB}">
      <dgm:prSet/>
      <dgm:spPr/>
      <dgm:t>
        <a:bodyPr/>
        <a:lstStyle/>
        <a:p>
          <a:endParaRPr lang="da-DK"/>
        </a:p>
      </dgm:t>
    </dgm:pt>
    <dgm:pt modelId="{17FBB722-4E7D-45ED-B2AE-378A6BEC5C75}">
      <dgm:prSet phldrT="[Tekst]"/>
      <dgm:spPr/>
      <dgm:t>
        <a:bodyPr/>
        <a:lstStyle/>
        <a:p>
          <a:endParaRPr lang="da-DK" dirty="0"/>
        </a:p>
      </dgm:t>
    </dgm:pt>
    <dgm:pt modelId="{8CD09E77-F364-4A12-A345-2BC6E5EE06F9}" type="parTrans" cxnId="{F53F3B55-D685-4A09-826B-837B96EDE903}">
      <dgm:prSet/>
      <dgm:spPr/>
      <dgm:t>
        <a:bodyPr/>
        <a:lstStyle/>
        <a:p>
          <a:endParaRPr lang="da-DK"/>
        </a:p>
      </dgm:t>
    </dgm:pt>
    <dgm:pt modelId="{3B8CBD37-08D7-4FF9-A1A5-99E948D5F35A}" type="sibTrans" cxnId="{F53F3B55-D685-4A09-826B-837B96EDE903}">
      <dgm:prSet/>
      <dgm:spPr/>
      <dgm:t>
        <a:bodyPr/>
        <a:lstStyle/>
        <a:p>
          <a:endParaRPr lang="da-DK"/>
        </a:p>
      </dgm:t>
    </dgm:pt>
    <dgm:pt modelId="{1789AFD6-E904-4057-9762-5905AB73FD71}">
      <dgm:prSet phldrT="[Tekst]"/>
      <dgm:spPr/>
      <dgm:t>
        <a:bodyPr/>
        <a:lstStyle/>
        <a:p>
          <a:r>
            <a:rPr lang="da-DK" dirty="0" smtClean="0"/>
            <a:t>HBU </a:t>
          </a:r>
          <a:r>
            <a:rPr lang="da-DK" dirty="0" smtClean="0">
              <a:sym typeface="Wingdings" panose="05000000000000000000" pitchFamily="2" charset="2"/>
            </a:rPr>
            <a:t>HRUSRS</a:t>
          </a:r>
          <a:endParaRPr lang="da-DK" dirty="0"/>
        </a:p>
      </dgm:t>
    </dgm:pt>
    <dgm:pt modelId="{1901A520-8A32-47F9-A71B-F53E420846BB}" type="parTrans" cxnId="{0F53B113-5573-4877-9DE2-5CCE39BA110F}">
      <dgm:prSet/>
      <dgm:spPr/>
      <dgm:t>
        <a:bodyPr/>
        <a:lstStyle/>
        <a:p>
          <a:endParaRPr lang="da-DK"/>
        </a:p>
      </dgm:t>
    </dgm:pt>
    <dgm:pt modelId="{C66639D5-418C-480E-B01D-A0E4AF58AF33}" type="sibTrans" cxnId="{0F53B113-5573-4877-9DE2-5CCE39BA110F}">
      <dgm:prSet/>
      <dgm:spPr/>
      <dgm:t>
        <a:bodyPr/>
        <a:lstStyle/>
        <a:p>
          <a:endParaRPr lang="da-DK"/>
        </a:p>
      </dgm:t>
    </dgm:pt>
    <dgm:pt modelId="{65B5908B-196F-41B2-A987-CA6B41CF3F7B}">
      <dgm:prSet phldrT="[Tekst]"/>
      <dgm:spPr/>
      <dgm:t>
        <a:bodyPr/>
        <a:lstStyle/>
        <a:p>
          <a:r>
            <a:rPr lang="da-DK" dirty="0" smtClean="0"/>
            <a:t>HBU </a:t>
          </a:r>
          <a:r>
            <a:rPr lang="da-DK" dirty="0" smtClean="0">
              <a:sym typeface="Wingdings" panose="05000000000000000000" pitchFamily="2" charset="2"/>
            </a:rPr>
            <a:t> </a:t>
          </a:r>
          <a:r>
            <a:rPr lang="da-DK" dirty="0" smtClean="0"/>
            <a:t>SRS</a:t>
          </a:r>
          <a:endParaRPr lang="da-DK" dirty="0"/>
        </a:p>
      </dgm:t>
    </dgm:pt>
    <dgm:pt modelId="{4DEE87FB-DC02-4DC7-A1F2-C5A94A9B5DEE}" type="parTrans" cxnId="{BB628F30-B6E4-4193-861C-161758DFE77D}">
      <dgm:prSet/>
      <dgm:spPr/>
      <dgm:t>
        <a:bodyPr/>
        <a:lstStyle/>
        <a:p>
          <a:endParaRPr lang="da-DK"/>
        </a:p>
      </dgm:t>
    </dgm:pt>
    <dgm:pt modelId="{8DC48BB1-C3EA-45C8-9BD6-EA5096939A8D}" type="sibTrans" cxnId="{BB628F30-B6E4-4193-861C-161758DFE77D}">
      <dgm:prSet/>
      <dgm:spPr/>
      <dgm:t>
        <a:bodyPr/>
        <a:lstStyle/>
        <a:p>
          <a:endParaRPr lang="da-DK"/>
        </a:p>
      </dgm:t>
    </dgm:pt>
    <dgm:pt modelId="{2708F82E-F0AF-45FB-AFCC-C612680DA8D5}">
      <dgm:prSet phldrT="[Tekst]"/>
      <dgm:spPr/>
      <dgm:t>
        <a:bodyPr/>
        <a:lstStyle/>
        <a:p>
          <a:r>
            <a:rPr lang="da-DK" dirty="0" smtClean="0"/>
            <a:t>17 uger.</a:t>
          </a:r>
          <a:endParaRPr lang="da-DK" dirty="0"/>
        </a:p>
      </dgm:t>
    </dgm:pt>
    <dgm:pt modelId="{FAC505AB-3B32-42A6-B990-F692E0B7EFFC}" type="parTrans" cxnId="{E0FC369A-5032-419B-BBBF-6B6117ED2B58}">
      <dgm:prSet/>
      <dgm:spPr/>
      <dgm:t>
        <a:bodyPr/>
        <a:lstStyle/>
        <a:p>
          <a:endParaRPr lang="da-DK"/>
        </a:p>
      </dgm:t>
    </dgm:pt>
    <dgm:pt modelId="{BE70653A-E2B2-47F8-B24B-8287C69AB03C}" type="sibTrans" cxnId="{E0FC369A-5032-419B-BBBF-6B6117ED2B58}">
      <dgm:prSet/>
      <dgm:spPr/>
      <dgm:t>
        <a:bodyPr/>
        <a:lstStyle/>
        <a:p>
          <a:endParaRPr lang="da-DK"/>
        </a:p>
      </dgm:t>
    </dgm:pt>
    <dgm:pt modelId="{DB96CC09-F10F-40CF-8232-37278F140409}">
      <dgm:prSet phldrT="[Tekst]"/>
      <dgm:spPr/>
      <dgm:t>
        <a:bodyPr/>
        <a:lstStyle/>
        <a:p>
          <a:endParaRPr lang="da-DK" dirty="0"/>
        </a:p>
      </dgm:t>
    </dgm:pt>
    <dgm:pt modelId="{41434C18-FC36-42F9-B732-449FBDC5C238}" type="parTrans" cxnId="{A18E61E3-3C14-4F9A-8B6D-280CC734B463}">
      <dgm:prSet/>
      <dgm:spPr/>
      <dgm:t>
        <a:bodyPr/>
        <a:lstStyle/>
        <a:p>
          <a:endParaRPr lang="da-DK"/>
        </a:p>
      </dgm:t>
    </dgm:pt>
    <dgm:pt modelId="{40224814-2C37-4DB6-A962-F771BEB42A53}" type="sibTrans" cxnId="{A18E61E3-3C14-4F9A-8B6D-280CC734B463}">
      <dgm:prSet/>
      <dgm:spPr/>
      <dgm:t>
        <a:bodyPr/>
        <a:lstStyle/>
        <a:p>
          <a:endParaRPr lang="da-DK"/>
        </a:p>
      </dgm:t>
    </dgm:pt>
    <dgm:pt modelId="{6F14063B-F651-499F-A579-7164914F6F81}">
      <dgm:prSet phldrT="[Tekst]"/>
      <dgm:spPr/>
      <dgm:t>
        <a:bodyPr/>
        <a:lstStyle/>
        <a:p>
          <a:r>
            <a:rPr lang="da-DK" dirty="0" smtClean="0"/>
            <a:t>Taktisk FØ</a:t>
          </a:r>
          <a:endParaRPr lang="da-DK" dirty="0"/>
        </a:p>
      </dgm:t>
    </dgm:pt>
    <dgm:pt modelId="{36494F3C-2F11-4EEF-BFD4-496975C80AA0}" type="parTrans" cxnId="{59657987-E63C-484F-BE8E-15F56F6FFBA5}">
      <dgm:prSet/>
      <dgm:spPr/>
      <dgm:t>
        <a:bodyPr/>
        <a:lstStyle/>
        <a:p>
          <a:endParaRPr lang="da-DK"/>
        </a:p>
      </dgm:t>
    </dgm:pt>
    <dgm:pt modelId="{2F3F1948-B8F2-4516-9BB1-9019B396708E}" type="sibTrans" cxnId="{59657987-E63C-484F-BE8E-15F56F6FFBA5}">
      <dgm:prSet/>
      <dgm:spPr/>
      <dgm:t>
        <a:bodyPr/>
        <a:lstStyle/>
        <a:p>
          <a:endParaRPr lang="da-DK"/>
        </a:p>
      </dgm:t>
    </dgm:pt>
    <dgm:pt modelId="{01F6A0A1-F7CD-42DA-A51B-44DE78162BE3}">
      <dgm:prSet/>
      <dgm:spPr/>
      <dgm:t>
        <a:bodyPr/>
        <a:lstStyle/>
        <a:p>
          <a:r>
            <a:rPr lang="da-DK" dirty="0" smtClean="0"/>
            <a:t>Instruktør</a:t>
          </a:r>
          <a:endParaRPr lang="da-DK" dirty="0"/>
        </a:p>
      </dgm:t>
    </dgm:pt>
    <dgm:pt modelId="{91DB4488-EA1E-47B6-A45A-9FCA8A286B82}" type="parTrans" cxnId="{D9740485-9CE5-4815-94AB-11B764C115FA}">
      <dgm:prSet/>
      <dgm:spPr/>
      <dgm:t>
        <a:bodyPr/>
        <a:lstStyle/>
        <a:p>
          <a:endParaRPr lang="da-DK"/>
        </a:p>
      </dgm:t>
    </dgm:pt>
    <dgm:pt modelId="{5F8F88B6-8DE3-412D-93C0-431F1CB33A49}" type="sibTrans" cxnId="{D9740485-9CE5-4815-94AB-11B764C115FA}">
      <dgm:prSet/>
      <dgm:spPr/>
      <dgm:t>
        <a:bodyPr/>
        <a:lstStyle/>
        <a:p>
          <a:endParaRPr lang="da-DK"/>
        </a:p>
      </dgm:t>
    </dgm:pt>
    <dgm:pt modelId="{5DCCE311-1EB2-42F7-8E09-5696B8C48378}">
      <dgm:prSet/>
      <dgm:spPr/>
      <dgm:t>
        <a:bodyPr/>
        <a:lstStyle/>
        <a:p>
          <a:r>
            <a:rPr lang="da-DK" dirty="0" smtClean="0"/>
            <a:t>SKYLE-I</a:t>
          </a:r>
          <a:endParaRPr lang="da-DK" dirty="0"/>
        </a:p>
      </dgm:t>
    </dgm:pt>
    <dgm:pt modelId="{A2D34624-878D-442F-ACEC-A7DF9069FE53}" type="parTrans" cxnId="{B297EC24-90A1-4533-9FFF-0095C8B4C54A}">
      <dgm:prSet/>
      <dgm:spPr/>
      <dgm:t>
        <a:bodyPr/>
        <a:lstStyle/>
        <a:p>
          <a:endParaRPr lang="da-DK"/>
        </a:p>
      </dgm:t>
    </dgm:pt>
    <dgm:pt modelId="{32D7AD38-7AE0-458C-9378-C4200A5BE5B8}" type="sibTrans" cxnId="{B297EC24-90A1-4533-9FFF-0095C8B4C54A}">
      <dgm:prSet/>
      <dgm:spPr/>
      <dgm:t>
        <a:bodyPr/>
        <a:lstStyle/>
        <a:p>
          <a:endParaRPr lang="da-DK"/>
        </a:p>
      </dgm:t>
    </dgm:pt>
    <dgm:pt modelId="{8BD75551-EB20-4AE8-B0FE-96EE8C448058}">
      <dgm:prSet/>
      <dgm:spPr/>
      <dgm:t>
        <a:bodyPr/>
        <a:lstStyle/>
        <a:p>
          <a:r>
            <a:rPr lang="da-DK" smtClean="0"/>
            <a:t>MFT-I</a:t>
          </a:r>
          <a:endParaRPr lang="da-DK" dirty="0"/>
        </a:p>
      </dgm:t>
    </dgm:pt>
    <dgm:pt modelId="{FAA38D7D-79E4-4370-B451-90E59E0A339C}" type="parTrans" cxnId="{4AD21792-7038-465F-A511-D67E5B2BDF8C}">
      <dgm:prSet/>
      <dgm:spPr/>
      <dgm:t>
        <a:bodyPr/>
        <a:lstStyle/>
        <a:p>
          <a:endParaRPr lang="da-DK"/>
        </a:p>
      </dgm:t>
    </dgm:pt>
    <dgm:pt modelId="{3A7932CC-44E8-4BC8-8980-0A30E9BAE939}" type="sibTrans" cxnId="{4AD21792-7038-465F-A511-D67E5B2BDF8C}">
      <dgm:prSet/>
      <dgm:spPr/>
      <dgm:t>
        <a:bodyPr/>
        <a:lstStyle/>
        <a:p>
          <a:endParaRPr lang="da-DK"/>
        </a:p>
      </dgm:t>
    </dgm:pt>
    <dgm:pt modelId="{D07521E9-D62E-432C-9109-610B8BB6722A}">
      <dgm:prSet/>
      <dgm:spPr/>
      <dgm:t>
        <a:bodyPr/>
        <a:lstStyle/>
        <a:p>
          <a:r>
            <a:rPr lang="da-DK" dirty="0" smtClean="0"/>
            <a:t>VB i GRP</a:t>
          </a:r>
          <a:endParaRPr lang="da-DK" dirty="0"/>
        </a:p>
      </dgm:t>
    </dgm:pt>
    <dgm:pt modelId="{4F8E5D03-8ECC-402A-ACA2-04F5E7323526}" type="parTrans" cxnId="{1DA01652-F5B7-442A-9E50-B051A6EF6A29}">
      <dgm:prSet/>
      <dgm:spPr/>
      <dgm:t>
        <a:bodyPr/>
        <a:lstStyle/>
        <a:p>
          <a:endParaRPr lang="da-DK"/>
        </a:p>
      </dgm:t>
    </dgm:pt>
    <dgm:pt modelId="{B291D485-8D1A-49A3-BE22-7C43855A5EA7}" type="sibTrans" cxnId="{1DA01652-F5B7-442A-9E50-B051A6EF6A29}">
      <dgm:prSet/>
      <dgm:spPr/>
      <dgm:t>
        <a:bodyPr/>
        <a:lstStyle/>
        <a:p>
          <a:endParaRPr lang="da-DK"/>
        </a:p>
      </dgm:t>
    </dgm:pt>
    <dgm:pt modelId="{A3683CBE-7E4A-4AB1-9FD3-A5AB773DEE22}">
      <dgm:prSet phldrT="[Tekst]"/>
      <dgm:spPr/>
      <dgm:t>
        <a:bodyPr/>
        <a:lstStyle/>
        <a:p>
          <a:r>
            <a:rPr lang="da-DK" dirty="0" smtClean="0"/>
            <a:t>Ledelse</a:t>
          </a:r>
          <a:endParaRPr lang="da-DK" dirty="0"/>
        </a:p>
      </dgm:t>
    </dgm:pt>
    <dgm:pt modelId="{CB406705-A4D9-4D2A-9DE4-043FDDC15B2C}" type="parTrans" cxnId="{41FCE4E9-1565-407A-8FC1-9CDBD300E0E1}">
      <dgm:prSet/>
      <dgm:spPr/>
      <dgm:t>
        <a:bodyPr/>
        <a:lstStyle/>
        <a:p>
          <a:endParaRPr lang="da-DK"/>
        </a:p>
      </dgm:t>
    </dgm:pt>
    <dgm:pt modelId="{2A7545D5-092A-4402-951B-AE67E474E91A}" type="sibTrans" cxnId="{41FCE4E9-1565-407A-8FC1-9CDBD300E0E1}">
      <dgm:prSet/>
      <dgm:spPr/>
      <dgm:t>
        <a:bodyPr/>
        <a:lstStyle/>
        <a:p>
          <a:endParaRPr lang="da-DK"/>
        </a:p>
      </dgm:t>
    </dgm:pt>
    <dgm:pt modelId="{14E29B3E-C890-4460-8D68-1CF6B5E41C2A}">
      <dgm:prSet/>
      <dgm:spPr/>
      <dgm:t>
        <a:bodyPr/>
        <a:lstStyle/>
        <a:p>
          <a:r>
            <a:rPr lang="da-DK" dirty="0" smtClean="0"/>
            <a:t>Ledelse</a:t>
          </a:r>
          <a:endParaRPr lang="da-DK" dirty="0"/>
        </a:p>
      </dgm:t>
    </dgm:pt>
    <dgm:pt modelId="{F5A4571D-CBFC-4AEA-AFE2-BAB316A56036}" type="parTrans" cxnId="{952DC873-CFFF-46A8-929C-E5D4D5306DD0}">
      <dgm:prSet/>
      <dgm:spPr/>
      <dgm:t>
        <a:bodyPr/>
        <a:lstStyle/>
        <a:p>
          <a:endParaRPr lang="da-DK"/>
        </a:p>
      </dgm:t>
    </dgm:pt>
    <dgm:pt modelId="{98D76BA5-0BD9-42E6-9CCF-B13E77B16CDA}" type="sibTrans" cxnId="{952DC873-CFFF-46A8-929C-E5D4D5306DD0}">
      <dgm:prSet/>
      <dgm:spPr/>
      <dgm:t>
        <a:bodyPr/>
        <a:lstStyle/>
        <a:p>
          <a:endParaRPr lang="da-DK"/>
        </a:p>
      </dgm:t>
    </dgm:pt>
    <dgm:pt modelId="{02EFE62A-3053-4C0A-94E2-F106307C8C04}" type="pres">
      <dgm:prSet presAssocID="{55C6902B-117B-406D-B1BB-A2BC3E1C7443}" presName="Name0" presStyleCnt="0">
        <dgm:presLayoutVars>
          <dgm:dir/>
          <dgm:resizeHandles val="exact"/>
        </dgm:presLayoutVars>
      </dgm:prSet>
      <dgm:spPr/>
    </dgm:pt>
    <dgm:pt modelId="{712F5380-8935-4253-98B7-827781CCAAB4}" type="pres">
      <dgm:prSet presAssocID="{55C6902B-117B-406D-B1BB-A2BC3E1C7443}" presName="bkgdShp" presStyleLbl="alignAccFollowNode1" presStyleIdx="0" presStyleCnt="1" custLinFactNeighborX="202" custLinFactNeighborY="595"/>
      <dgm:spPr/>
    </dgm:pt>
    <dgm:pt modelId="{0744DEB5-A4BE-4342-AE68-78627AB5EE97}" type="pres">
      <dgm:prSet presAssocID="{55C6902B-117B-406D-B1BB-A2BC3E1C7443}" presName="linComp" presStyleCnt="0"/>
      <dgm:spPr/>
    </dgm:pt>
    <dgm:pt modelId="{6E66C84C-5EF4-40E6-A601-F0C92FAC0BC7}" type="pres">
      <dgm:prSet presAssocID="{BDCCEC16-E555-4370-B34D-5442F320E573}" presName="compNode" presStyleCnt="0"/>
      <dgm:spPr/>
    </dgm:pt>
    <dgm:pt modelId="{52B6F5A3-B6ED-4CD1-9C32-CD5213C6CF52}" type="pres">
      <dgm:prSet presAssocID="{BDCCEC16-E555-4370-B34D-5442F320E573}" presName="node" presStyleLbl="node1" presStyleIdx="0" presStyleCnt="2">
        <dgm:presLayoutVars>
          <dgm:bulletEnabled val="1"/>
        </dgm:presLayoutVars>
      </dgm:prSet>
      <dgm:spPr/>
      <dgm:t>
        <a:bodyPr/>
        <a:lstStyle/>
        <a:p>
          <a:endParaRPr lang="da-DK"/>
        </a:p>
      </dgm:t>
    </dgm:pt>
    <dgm:pt modelId="{A7B51519-6305-48BF-B9E8-EE7E8EEAB0D0}" type="pres">
      <dgm:prSet presAssocID="{BDCCEC16-E555-4370-B34D-5442F320E573}" presName="invisiNode" presStyleLbl="node1" presStyleIdx="0" presStyleCnt="2"/>
      <dgm:spPr/>
    </dgm:pt>
    <dgm:pt modelId="{004663AB-3284-4718-A01C-E5540C9C185B}" type="pres">
      <dgm:prSet presAssocID="{BDCCEC16-E555-4370-B34D-5442F320E573}" presName="imagNode" presStyleLbl="fgImgPlace1" presStyleIdx="0" presStyleCnt="2"/>
      <dgm:spPr>
        <a:blipFill rotWithShape="1">
          <a:blip xmlns:r="http://schemas.openxmlformats.org/officeDocument/2006/relationships" r:embed="rId1"/>
          <a:stretch>
            <a:fillRect/>
          </a:stretch>
        </a:blipFill>
      </dgm:spPr>
    </dgm:pt>
    <dgm:pt modelId="{B04D4151-F14D-4D25-B22F-A48867F039EB}" type="pres">
      <dgm:prSet presAssocID="{98852CBE-5715-466B-AD8F-E12ACF097BE1}" presName="sibTrans" presStyleLbl="sibTrans2D1" presStyleIdx="0" presStyleCnt="0"/>
      <dgm:spPr/>
      <dgm:t>
        <a:bodyPr/>
        <a:lstStyle/>
        <a:p>
          <a:endParaRPr lang="da-DK"/>
        </a:p>
      </dgm:t>
    </dgm:pt>
    <dgm:pt modelId="{09ED19F8-54A8-4133-9B6B-5BCE744B0C20}" type="pres">
      <dgm:prSet presAssocID="{54F7B543-6981-4C3B-9321-57174ECCB5D4}" presName="compNode" presStyleCnt="0"/>
      <dgm:spPr/>
    </dgm:pt>
    <dgm:pt modelId="{2C6D7BD5-A1F2-482B-BE8E-F42EC77518A9}" type="pres">
      <dgm:prSet presAssocID="{54F7B543-6981-4C3B-9321-57174ECCB5D4}" presName="node" presStyleLbl="node1" presStyleIdx="1" presStyleCnt="2">
        <dgm:presLayoutVars>
          <dgm:bulletEnabled val="1"/>
        </dgm:presLayoutVars>
      </dgm:prSet>
      <dgm:spPr/>
      <dgm:t>
        <a:bodyPr/>
        <a:lstStyle/>
        <a:p>
          <a:endParaRPr lang="da-DK"/>
        </a:p>
      </dgm:t>
    </dgm:pt>
    <dgm:pt modelId="{89A83B9E-D833-4372-B9A5-2D03FC94A0C7}" type="pres">
      <dgm:prSet presAssocID="{54F7B543-6981-4C3B-9321-57174ECCB5D4}" presName="invisiNode" presStyleLbl="node1" presStyleIdx="1" presStyleCnt="2"/>
      <dgm:spPr/>
    </dgm:pt>
    <dgm:pt modelId="{46293599-CD18-456C-B523-2643D9780D34}" type="pres">
      <dgm:prSet presAssocID="{54F7B543-6981-4C3B-9321-57174ECCB5D4}" presName="imagNode" presStyleLbl="fgImgPlace1" presStyleIdx="1" presStyleCnt="2"/>
      <dgm:spPr>
        <a:blipFill rotWithShape="1">
          <a:blip xmlns:r="http://schemas.openxmlformats.org/officeDocument/2006/relationships" r:embed="rId2"/>
          <a:stretch>
            <a:fillRect/>
          </a:stretch>
        </a:blipFill>
      </dgm:spPr>
    </dgm:pt>
  </dgm:ptLst>
  <dgm:cxnLst>
    <dgm:cxn modelId="{B0885120-E847-420C-92E2-DB8619088B95}" srcId="{3DEED9EB-3768-49C7-A125-077DC13AE8E3}" destId="{1A0169DA-809B-485F-878D-DE22DE5E648D}" srcOrd="4" destOrd="0" parTransId="{6C975893-F2AE-43C6-959E-DAAB79F52151}" sibTransId="{6F72FB5B-1771-4EAF-8594-6D52ABCC3E16}"/>
    <dgm:cxn modelId="{E045451D-6C5F-48AF-9A44-5A69715338A7}" type="presOf" srcId="{01F6A0A1-F7CD-42DA-A51B-44DE78162BE3}" destId="{2C6D7BD5-A1F2-482B-BE8E-F42EC77518A9}" srcOrd="0" destOrd="4" presId="urn:microsoft.com/office/officeart/2005/8/layout/pList2"/>
    <dgm:cxn modelId="{41FCE4E9-1565-407A-8FC1-9CDBD300E0E1}" srcId="{3DEED9EB-3768-49C7-A125-077DC13AE8E3}" destId="{A3683CBE-7E4A-4AB1-9FD3-A5AB773DEE22}" srcOrd="2" destOrd="0" parTransId="{CB406705-A4D9-4D2A-9DE4-043FDDC15B2C}" sibTransId="{2A7545D5-092A-4402-951B-AE67E474E91A}"/>
    <dgm:cxn modelId="{2AF68ACA-81BC-4911-9BEB-F612DA1CD78A}" type="presOf" srcId="{6F14063B-F651-499F-A579-7164914F6F81}" destId="{2C6D7BD5-A1F2-482B-BE8E-F42EC77518A9}" srcOrd="0" destOrd="3" presId="urn:microsoft.com/office/officeart/2005/8/layout/pList2"/>
    <dgm:cxn modelId="{5A9AA8A7-0E5E-4AB5-89BC-2806FC1B3DA8}" type="presOf" srcId="{938FBDA9-6ECD-45BA-BC67-8312E729F759}" destId="{52B6F5A3-B6ED-4CD1-9C32-CD5213C6CF52}" srcOrd="0" destOrd="8" presId="urn:microsoft.com/office/officeart/2005/8/layout/pList2"/>
    <dgm:cxn modelId="{58008417-A3B0-41C3-AB28-F1C401F5371D}" srcId="{3DEED9EB-3768-49C7-A125-077DC13AE8E3}" destId="{8D565D85-83D1-4CF0-B714-6A608B197EBA}" srcOrd="0" destOrd="0" parTransId="{655DE7C7-E5F7-45A1-AD72-4C6E048D49F8}" sibTransId="{9F8F308B-DCC7-4AEF-AB69-826B95A175EE}"/>
    <dgm:cxn modelId="{59657987-E63C-484F-BE8E-15F56F6FFBA5}" srcId="{2708F82E-F0AF-45FB-AFCC-C612680DA8D5}" destId="{6F14063B-F651-499F-A579-7164914F6F81}" srcOrd="0" destOrd="0" parTransId="{36494F3C-2F11-4EEF-BFD4-496975C80AA0}" sibTransId="{2F3F1948-B8F2-4516-9BB1-9019B396708E}"/>
    <dgm:cxn modelId="{1088F661-E5FD-4661-8000-04F4383A5081}" type="presOf" srcId="{5DCCE311-1EB2-42F7-8E09-5696B8C48378}" destId="{2C6D7BD5-A1F2-482B-BE8E-F42EC77518A9}" srcOrd="0" destOrd="6" presId="urn:microsoft.com/office/officeart/2005/8/layout/pList2"/>
    <dgm:cxn modelId="{BB628F30-B6E4-4193-861C-161758DFE77D}" srcId="{54F7B543-6981-4C3B-9321-57174ECCB5D4}" destId="{65B5908B-196F-41B2-A987-CA6B41CF3F7B}" srcOrd="0" destOrd="0" parTransId="{4DEE87FB-DC02-4DC7-A1F2-C5A94A9B5DEE}" sibTransId="{8DC48BB1-C3EA-45C8-9BD6-EA5096939A8D}"/>
    <dgm:cxn modelId="{B9ED922D-A123-44C1-9B08-D0BF34B49D53}" srcId="{3DEED9EB-3768-49C7-A125-077DC13AE8E3}" destId="{D702BA43-DBDE-4921-813F-7CEB932262B4}" srcOrd="3" destOrd="0" parTransId="{0C1ECDAF-F673-4729-90AC-2D1CF3DF3E9E}" sibTransId="{3B8D150D-2254-4E32-A83F-CB837FA30D8C}"/>
    <dgm:cxn modelId="{0F53B113-5573-4877-9DE2-5CCE39BA110F}" srcId="{BDCCEC16-E555-4370-B34D-5442F320E573}" destId="{1789AFD6-E904-4057-9762-5905AB73FD71}" srcOrd="0" destOrd="0" parTransId="{1901A520-8A32-47F9-A71B-F53E420846BB}" sibTransId="{C66639D5-418C-480E-B01D-A0E4AF58AF33}"/>
    <dgm:cxn modelId="{B297EC24-90A1-4533-9FFF-0095C8B4C54A}" srcId="{2708F82E-F0AF-45FB-AFCC-C612680DA8D5}" destId="{5DCCE311-1EB2-42F7-8E09-5696B8C48378}" srcOrd="3" destOrd="0" parTransId="{A2D34624-878D-442F-ACEC-A7DF9069FE53}" sibTransId="{32D7AD38-7AE0-458C-9378-C4200A5BE5B8}"/>
    <dgm:cxn modelId="{68AA5B8C-EFD1-437D-AF39-A478F766EF9F}" type="presOf" srcId="{D07521E9-D62E-432C-9109-610B8BB6722A}" destId="{2C6D7BD5-A1F2-482B-BE8E-F42EC77518A9}" srcOrd="0" destOrd="8" presId="urn:microsoft.com/office/officeart/2005/8/layout/pList2"/>
    <dgm:cxn modelId="{79945F72-D91D-4367-9745-2E161C1E6CCB}" srcId="{3DEED9EB-3768-49C7-A125-077DC13AE8E3}" destId="{938FBDA9-6ECD-45BA-BC67-8312E729F759}" srcOrd="5" destOrd="0" parTransId="{CFD8E630-01B0-4DBA-AD11-27B91F805328}" sibTransId="{6E19ECA9-19A6-469D-B388-D5F3C0C11BA2}"/>
    <dgm:cxn modelId="{1264C2C8-19FC-4A32-97E0-4B880D3A79A0}" type="presOf" srcId="{3192004C-521B-43B0-AC6E-D65F382304D5}" destId="{52B6F5A3-B6ED-4CD1-9C32-CD5213C6CF52}" srcOrd="0" destOrd="4" presId="urn:microsoft.com/office/officeart/2005/8/layout/pList2"/>
    <dgm:cxn modelId="{38031386-EA65-4EDC-B132-2613A34CA35C}" type="presOf" srcId="{54F7B543-6981-4C3B-9321-57174ECCB5D4}" destId="{2C6D7BD5-A1F2-482B-BE8E-F42EC77518A9}" srcOrd="0" destOrd="0" presId="urn:microsoft.com/office/officeart/2005/8/layout/pList2"/>
    <dgm:cxn modelId="{7F305003-CFDD-480C-B7C6-1D886537549E}" type="presOf" srcId="{D702BA43-DBDE-4921-813F-7CEB932262B4}" destId="{52B6F5A3-B6ED-4CD1-9C32-CD5213C6CF52}" srcOrd="0" destOrd="6" presId="urn:microsoft.com/office/officeart/2005/8/layout/pList2"/>
    <dgm:cxn modelId="{3EB7E9C7-3E2E-4989-975F-B5A2511ACC46}" srcId="{3DEED9EB-3768-49C7-A125-077DC13AE8E3}" destId="{3192004C-521B-43B0-AC6E-D65F382304D5}" srcOrd="1" destOrd="0" parTransId="{4814F43F-1938-4F9C-9925-164B68355A49}" sibTransId="{14AF1BDE-A934-441E-B70C-E12FE65E171C}"/>
    <dgm:cxn modelId="{4AD21792-7038-465F-A511-D67E5B2BDF8C}" srcId="{2708F82E-F0AF-45FB-AFCC-C612680DA8D5}" destId="{8BD75551-EB20-4AE8-B0FE-96EE8C448058}" srcOrd="4" destOrd="0" parTransId="{FAA38D7D-79E4-4370-B451-90E59E0A339C}" sibTransId="{3A7932CC-44E8-4BC8-8980-0A30E9BAE939}"/>
    <dgm:cxn modelId="{6546FDBB-9225-4DD0-8255-6E84DA81785F}" type="presOf" srcId="{1A0169DA-809B-485F-878D-DE22DE5E648D}" destId="{52B6F5A3-B6ED-4CD1-9C32-CD5213C6CF52}" srcOrd="0" destOrd="7" presId="urn:microsoft.com/office/officeart/2005/8/layout/pList2"/>
    <dgm:cxn modelId="{6802D9CB-DDDE-4EDE-B134-5BF26C2BBD2B}" type="presOf" srcId="{14E29B3E-C890-4460-8D68-1CF6B5E41C2A}" destId="{2C6D7BD5-A1F2-482B-BE8E-F42EC77518A9}" srcOrd="0" destOrd="5" presId="urn:microsoft.com/office/officeart/2005/8/layout/pList2"/>
    <dgm:cxn modelId="{952DC873-CFFF-46A8-929C-E5D4D5306DD0}" srcId="{2708F82E-F0AF-45FB-AFCC-C612680DA8D5}" destId="{14E29B3E-C890-4460-8D68-1CF6B5E41C2A}" srcOrd="2" destOrd="0" parTransId="{F5A4571D-CBFC-4AEA-AFE2-BAB316A56036}" sibTransId="{98D76BA5-0BD9-42E6-9CCF-B13E77B16CDA}"/>
    <dgm:cxn modelId="{CAE7375C-E559-4775-8B78-7E8A8184E80B}" type="presOf" srcId="{8D565D85-83D1-4CF0-B714-6A608B197EBA}" destId="{52B6F5A3-B6ED-4CD1-9C32-CD5213C6CF52}" srcOrd="0" destOrd="3" presId="urn:microsoft.com/office/officeart/2005/8/layout/pList2"/>
    <dgm:cxn modelId="{9FBAAFC0-8D9F-4A81-A0E1-25633C4522A4}" srcId="{55C6902B-117B-406D-B1BB-A2BC3E1C7443}" destId="{BDCCEC16-E555-4370-B34D-5442F320E573}" srcOrd="0" destOrd="0" parTransId="{F93529C7-5C1B-4543-B88D-8ECCE999692B}" sibTransId="{98852CBE-5715-466B-AD8F-E12ACF097BE1}"/>
    <dgm:cxn modelId="{A18E61E3-3C14-4F9A-8B6D-280CC734B463}" srcId="{54F7B543-6981-4C3B-9321-57174ECCB5D4}" destId="{DB96CC09-F10F-40CF-8232-37278F140409}" srcOrd="2" destOrd="0" parTransId="{41434C18-FC36-42F9-B732-449FBDC5C238}" sibTransId="{40224814-2C37-4DB6-A962-F771BEB42A53}"/>
    <dgm:cxn modelId="{D9740485-9CE5-4815-94AB-11B764C115FA}" srcId="{2708F82E-F0AF-45FB-AFCC-C612680DA8D5}" destId="{01F6A0A1-F7CD-42DA-A51B-44DE78162BE3}" srcOrd="1" destOrd="0" parTransId="{91DB4488-EA1E-47B6-A45A-9FCA8A286B82}" sibTransId="{5F8F88B6-8DE3-412D-93C0-431F1CB33A49}"/>
    <dgm:cxn modelId="{8A6B8034-17CF-4852-B2CD-852302F1F9E2}" srcId="{55C6902B-117B-406D-B1BB-A2BC3E1C7443}" destId="{54F7B543-6981-4C3B-9321-57174ECCB5D4}" srcOrd="1" destOrd="0" parTransId="{FE46FA80-3F7F-4376-AA3E-6F2776B952FF}" sibTransId="{4649C63C-93AB-4F9D-BC5D-3F96A02CEF40}"/>
    <dgm:cxn modelId="{E0FC369A-5032-419B-BBBF-6B6117ED2B58}" srcId="{54F7B543-6981-4C3B-9321-57174ECCB5D4}" destId="{2708F82E-F0AF-45FB-AFCC-C612680DA8D5}" srcOrd="1" destOrd="0" parTransId="{FAC505AB-3B32-42A6-B990-F692E0B7EFFC}" sibTransId="{BE70653A-E2B2-47F8-B24B-8287C69AB03C}"/>
    <dgm:cxn modelId="{64B11E0C-AC64-43F3-B3AA-CDCAEC39BDFB}" type="presOf" srcId="{2708F82E-F0AF-45FB-AFCC-C612680DA8D5}" destId="{2C6D7BD5-A1F2-482B-BE8E-F42EC77518A9}" srcOrd="0" destOrd="2" presId="urn:microsoft.com/office/officeart/2005/8/layout/pList2"/>
    <dgm:cxn modelId="{719DF174-0F58-4493-9780-9E0620568736}" type="presOf" srcId="{A3683CBE-7E4A-4AB1-9FD3-A5AB773DEE22}" destId="{52B6F5A3-B6ED-4CD1-9C32-CD5213C6CF52}" srcOrd="0" destOrd="5" presId="urn:microsoft.com/office/officeart/2005/8/layout/pList2"/>
    <dgm:cxn modelId="{2F1BC415-A8CE-477B-A70D-618FC71DB853}" type="presOf" srcId="{BDCCEC16-E555-4370-B34D-5442F320E573}" destId="{52B6F5A3-B6ED-4CD1-9C32-CD5213C6CF52}" srcOrd="0" destOrd="0" presId="urn:microsoft.com/office/officeart/2005/8/layout/pList2"/>
    <dgm:cxn modelId="{F99245E2-45EE-4E2A-9E09-1E4603FC601A}" srcId="{BDCCEC16-E555-4370-B34D-5442F320E573}" destId="{3DEED9EB-3768-49C7-A125-077DC13AE8E3}" srcOrd="1" destOrd="0" parTransId="{84A24B0C-64C8-432F-8C2A-C1C13C54217B}" sibTransId="{F66C550C-C82D-4A38-B642-EF97B4BBBB6C}"/>
    <dgm:cxn modelId="{82941680-AF17-4008-AF3D-3BD28BE18007}" type="presOf" srcId="{1789AFD6-E904-4057-9762-5905AB73FD71}" destId="{52B6F5A3-B6ED-4CD1-9C32-CD5213C6CF52}" srcOrd="0" destOrd="1" presId="urn:microsoft.com/office/officeart/2005/8/layout/pList2"/>
    <dgm:cxn modelId="{5654D1EB-39A8-4904-A2E6-32E63390F808}" type="presOf" srcId="{3DEED9EB-3768-49C7-A125-077DC13AE8E3}" destId="{52B6F5A3-B6ED-4CD1-9C32-CD5213C6CF52}" srcOrd="0" destOrd="2" presId="urn:microsoft.com/office/officeart/2005/8/layout/pList2"/>
    <dgm:cxn modelId="{F53F3B55-D685-4A09-826B-837B96EDE903}" srcId="{3DEED9EB-3768-49C7-A125-077DC13AE8E3}" destId="{17FBB722-4E7D-45ED-B2AE-378A6BEC5C75}" srcOrd="6" destOrd="0" parTransId="{8CD09E77-F364-4A12-A345-2BC6E5EE06F9}" sibTransId="{3B8CBD37-08D7-4FF9-A1A5-99E948D5F35A}"/>
    <dgm:cxn modelId="{B867339B-9ABB-495B-A661-7982AB80B0A6}" type="presOf" srcId="{65B5908B-196F-41B2-A987-CA6B41CF3F7B}" destId="{2C6D7BD5-A1F2-482B-BE8E-F42EC77518A9}" srcOrd="0" destOrd="1" presId="urn:microsoft.com/office/officeart/2005/8/layout/pList2"/>
    <dgm:cxn modelId="{FC353835-3E4E-44D4-B810-7587E640A1A7}" type="presOf" srcId="{A29855E9-0580-4B2B-A0B7-1244EFCC6619}" destId="{52B6F5A3-B6ED-4CD1-9C32-CD5213C6CF52}" srcOrd="0" destOrd="10" presId="urn:microsoft.com/office/officeart/2005/8/layout/pList2"/>
    <dgm:cxn modelId="{45D95A34-66F7-40CE-AB8A-D004E53D9D6D}" type="presOf" srcId="{55C6902B-117B-406D-B1BB-A2BC3E1C7443}" destId="{02EFE62A-3053-4C0A-94E2-F106307C8C04}" srcOrd="0" destOrd="0" presId="urn:microsoft.com/office/officeart/2005/8/layout/pList2"/>
    <dgm:cxn modelId="{7F3004B7-CBBA-44C5-A381-F375BEACD369}" srcId="{BDCCEC16-E555-4370-B34D-5442F320E573}" destId="{A29855E9-0580-4B2B-A0B7-1244EFCC6619}" srcOrd="2" destOrd="0" parTransId="{3B07D430-C531-4068-A14E-BB92B569BBB2}" sibTransId="{861600B1-DA40-491F-99AB-1DFF0B1D9C66}"/>
    <dgm:cxn modelId="{9DF8A5DF-2E26-40AF-AB2C-582AD5D84368}" type="presOf" srcId="{17FBB722-4E7D-45ED-B2AE-378A6BEC5C75}" destId="{52B6F5A3-B6ED-4CD1-9C32-CD5213C6CF52}" srcOrd="0" destOrd="9" presId="urn:microsoft.com/office/officeart/2005/8/layout/pList2"/>
    <dgm:cxn modelId="{6676936E-54CA-47D0-9192-A308EDAA26BB}" type="presOf" srcId="{8BD75551-EB20-4AE8-B0FE-96EE8C448058}" destId="{2C6D7BD5-A1F2-482B-BE8E-F42EC77518A9}" srcOrd="0" destOrd="7" presId="urn:microsoft.com/office/officeart/2005/8/layout/pList2"/>
    <dgm:cxn modelId="{3BF69288-6D10-4AB4-BFD2-A5EBA38A515A}" type="presOf" srcId="{DB96CC09-F10F-40CF-8232-37278F140409}" destId="{2C6D7BD5-A1F2-482B-BE8E-F42EC77518A9}" srcOrd="0" destOrd="9" presId="urn:microsoft.com/office/officeart/2005/8/layout/pList2"/>
    <dgm:cxn modelId="{1DA01652-F5B7-442A-9E50-B051A6EF6A29}" srcId="{2708F82E-F0AF-45FB-AFCC-C612680DA8D5}" destId="{D07521E9-D62E-432C-9109-610B8BB6722A}" srcOrd="5" destOrd="0" parTransId="{4F8E5D03-8ECC-402A-ACA2-04F5E7323526}" sibTransId="{B291D485-8D1A-49A3-BE22-7C43855A5EA7}"/>
    <dgm:cxn modelId="{77AE2EB4-F41F-4980-A99A-56B6184C3099}" type="presOf" srcId="{98852CBE-5715-466B-AD8F-E12ACF097BE1}" destId="{B04D4151-F14D-4D25-B22F-A48867F039EB}" srcOrd="0" destOrd="0" presId="urn:microsoft.com/office/officeart/2005/8/layout/pList2"/>
    <dgm:cxn modelId="{9297688F-D0C2-45D6-A22D-3D819B00E84C}" type="presParOf" srcId="{02EFE62A-3053-4C0A-94E2-F106307C8C04}" destId="{712F5380-8935-4253-98B7-827781CCAAB4}" srcOrd="0" destOrd="0" presId="urn:microsoft.com/office/officeart/2005/8/layout/pList2"/>
    <dgm:cxn modelId="{6940BA45-9772-4A88-8647-ADCFFD681710}" type="presParOf" srcId="{02EFE62A-3053-4C0A-94E2-F106307C8C04}" destId="{0744DEB5-A4BE-4342-AE68-78627AB5EE97}" srcOrd="1" destOrd="0" presId="urn:microsoft.com/office/officeart/2005/8/layout/pList2"/>
    <dgm:cxn modelId="{E2D3ADFA-C6BB-4F30-99B8-6AC9F068FF21}" type="presParOf" srcId="{0744DEB5-A4BE-4342-AE68-78627AB5EE97}" destId="{6E66C84C-5EF4-40E6-A601-F0C92FAC0BC7}" srcOrd="0" destOrd="0" presId="urn:microsoft.com/office/officeart/2005/8/layout/pList2"/>
    <dgm:cxn modelId="{62F0C2F6-A738-4F15-B7AD-09E9289D8120}" type="presParOf" srcId="{6E66C84C-5EF4-40E6-A601-F0C92FAC0BC7}" destId="{52B6F5A3-B6ED-4CD1-9C32-CD5213C6CF52}" srcOrd="0" destOrd="0" presId="urn:microsoft.com/office/officeart/2005/8/layout/pList2"/>
    <dgm:cxn modelId="{833F7F84-A1B5-4ABD-9012-6C69F4E3DD48}" type="presParOf" srcId="{6E66C84C-5EF4-40E6-A601-F0C92FAC0BC7}" destId="{A7B51519-6305-48BF-B9E8-EE7E8EEAB0D0}" srcOrd="1" destOrd="0" presId="urn:microsoft.com/office/officeart/2005/8/layout/pList2"/>
    <dgm:cxn modelId="{C88E107F-20F4-4887-9881-950EACEEB11C}" type="presParOf" srcId="{6E66C84C-5EF4-40E6-A601-F0C92FAC0BC7}" destId="{004663AB-3284-4718-A01C-E5540C9C185B}" srcOrd="2" destOrd="0" presId="urn:microsoft.com/office/officeart/2005/8/layout/pList2"/>
    <dgm:cxn modelId="{8DC08CF2-6CC6-4E7E-B6FE-488A343271A7}" type="presParOf" srcId="{0744DEB5-A4BE-4342-AE68-78627AB5EE97}" destId="{B04D4151-F14D-4D25-B22F-A48867F039EB}" srcOrd="1" destOrd="0" presId="urn:microsoft.com/office/officeart/2005/8/layout/pList2"/>
    <dgm:cxn modelId="{9900642A-9270-4E56-BFCE-6CD6AE7E9E23}" type="presParOf" srcId="{0744DEB5-A4BE-4342-AE68-78627AB5EE97}" destId="{09ED19F8-54A8-4133-9B6B-5BCE744B0C20}" srcOrd="2" destOrd="0" presId="urn:microsoft.com/office/officeart/2005/8/layout/pList2"/>
    <dgm:cxn modelId="{25CFFA3C-5E03-4F9D-8F87-482C957983D5}" type="presParOf" srcId="{09ED19F8-54A8-4133-9B6B-5BCE744B0C20}" destId="{2C6D7BD5-A1F2-482B-BE8E-F42EC77518A9}" srcOrd="0" destOrd="0" presId="urn:microsoft.com/office/officeart/2005/8/layout/pList2"/>
    <dgm:cxn modelId="{FCAF9599-95E8-48F1-96CB-E518CDEE18E4}" type="presParOf" srcId="{09ED19F8-54A8-4133-9B6B-5BCE744B0C20}" destId="{89A83B9E-D833-4372-B9A5-2D03FC94A0C7}" srcOrd="1" destOrd="0" presId="urn:microsoft.com/office/officeart/2005/8/layout/pList2"/>
    <dgm:cxn modelId="{EB9D31C0-14BA-438B-8062-60A7A98139C4}" type="presParOf" srcId="{09ED19F8-54A8-4133-9B6B-5BCE744B0C20}" destId="{46293599-CD18-456C-B523-2643D9780D3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5C6902B-117B-406D-B1BB-A2BC3E1C7443}" type="doc">
      <dgm:prSet loTypeId="urn:microsoft.com/office/officeart/2005/8/layout/pList2" loCatId="list" qsTypeId="urn:microsoft.com/office/officeart/2005/8/quickstyle/simple1" qsCatId="simple" csTypeId="urn:microsoft.com/office/officeart/2005/8/colors/accent1_2" csCatId="accent1" phldr="1"/>
      <dgm:spPr/>
    </dgm:pt>
    <dgm:pt modelId="{BDCCEC16-E555-4370-B34D-5442F320E573}">
      <dgm:prSet phldrT="[Tekst]"/>
      <dgm:spPr/>
      <dgm:t>
        <a:bodyPr/>
        <a:lstStyle/>
        <a:p>
          <a:pPr algn="ctr"/>
          <a:r>
            <a:rPr lang="da-DK" sz="1200" b="1" dirty="0" smtClean="0"/>
            <a:t>Sergent</a:t>
          </a:r>
          <a:endParaRPr lang="da-DK" sz="1200" b="1" dirty="0"/>
        </a:p>
      </dgm:t>
    </dgm:pt>
    <dgm:pt modelId="{F93529C7-5C1B-4543-B88D-8ECCE999692B}" type="parTrans" cxnId="{9FBAAFC0-8D9F-4A81-A0E1-25633C4522A4}">
      <dgm:prSet/>
      <dgm:spPr/>
      <dgm:t>
        <a:bodyPr/>
        <a:lstStyle/>
        <a:p>
          <a:endParaRPr lang="da-DK"/>
        </a:p>
      </dgm:t>
    </dgm:pt>
    <dgm:pt modelId="{98852CBE-5715-466B-AD8F-E12ACF097BE1}" type="sibTrans" cxnId="{9FBAAFC0-8D9F-4A81-A0E1-25633C4522A4}">
      <dgm:prSet/>
      <dgm:spPr/>
      <dgm:t>
        <a:bodyPr/>
        <a:lstStyle/>
        <a:p>
          <a:endParaRPr lang="da-DK"/>
        </a:p>
      </dgm:t>
    </dgm:pt>
    <dgm:pt modelId="{54F7B543-6981-4C3B-9321-57174ECCB5D4}">
      <dgm:prSet phldrT="[Tekst]"/>
      <dgm:spPr/>
      <dgm:t>
        <a:bodyPr/>
        <a:lstStyle/>
        <a:p>
          <a:pPr algn="ctr"/>
          <a:r>
            <a:rPr lang="da-DK" sz="1200" b="1" dirty="0" smtClean="0"/>
            <a:t>Oversergent</a:t>
          </a:r>
          <a:endParaRPr lang="da-DK" sz="1200" b="1" dirty="0"/>
        </a:p>
      </dgm:t>
    </dgm:pt>
    <dgm:pt modelId="{FE46FA80-3F7F-4376-AA3E-6F2776B952FF}" type="parTrans" cxnId="{8A6B8034-17CF-4852-B2CD-852302F1F9E2}">
      <dgm:prSet/>
      <dgm:spPr/>
      <dgm:t>
        <a:bodyPr/>
        <a:lstStyle/>
        <a:p>
          <a:endParaRPr lang="da-DK"/>
        </a:p>
      </dgm:t>
    </dgm:pt>
    <dgm:pt modelId="{4649C63C-93AB-4F9D-BC5D-3F96A02CEF40}" type="sibTrans" cxnId="{8A6B8034-17CF-4852-B2CD-852302F1F9E2}">
      <dgm:prSet/>
      <dgm:spPr/>
      <dgm:t>
        <a:bodyPr/>
        <a:lstStyle/>
        <a:p>
          <a:endParaRPr lang="da-DK"/>
        </a:p>
      </dgm:t>
    </dgm:pt>
    <dgm:pt modelId="{16E69697-452B-4937-B38E-A603C04687D8}">
      <dgm:prSet phldrT="[Tekst]"/>
      <dgm:spPr/>
      <dgm:t>
        <a:bodyPr/>
        <a:lstStyle/>
        <a:p>
          <a:r>
            <a:rPr lang="da-DK" sz="1200" b="1" dirty="0" smtClean="0"/>
            <a:t>Chefsergent</a:t>
          </a:r>
          <a:endParaRPr lang="da-DK" sz="1200" b="1" dirty="0"/>
        </a:p>
      </dgm:t>
    </dgm:pt>
    <dgm:pt modelId="{6A0EF079-E2BC-494A-AD99-8E4A6C9EE451}" type="parTrans" cxnId="{C1218887-6921-4448-8C25-682C82E345E0}">
      <dgm:prSet/>
      <dgm:spPr/>
      <dgm:t>
        <a:bodyPr/>
        <a:lstStyle/>
        <a:p>
          <a:endParaRPr lang="da-DK"/>
        </a:p>
      </dgm:t>
    </dgm:pt>
    <dgm:pt modelId="{8495628B-B758-4878-8E1F-F7E1E3AFF3F7}" type="sibTrans" cxnId="{C1218887-6921-4448-8C25-682C82E345E0}">
      <dgm:prSet/>
      <dgm:spPr/>
      <dgm:t>
        <a:bodyPr/>
        <a:lstStyle/>
        <a:p>
          <a:endParaRPr lang="da-DK"/>
        </a:p>
      </dgm:t>
    </dgm:pt>
    <dgm:pt modelId="{616CB614-7001-4B74-BA5A-9A9AFEA71649}">
      <dgm:prSet phldrT="[Tekst]" custT="1"/>
      <dgm:spPr/>
      <dgm:t>
        <a:bodyPr/>
        <a:lstStyle/>
        <a:p>
          <a:pPr algn="l"/>
          <a:r>
            <a:rPr lang="da-DK" sz="1100" u="sng" dirty="0" smtClean="0"/>
            <a:t>Føring</a:t>
          </a:r>
          <a:endParaRPr lang="da-DK" sz="1100" u="sng" dirty="0"/>
        </a:p>
      </dgm:t>
    </dgm:pt>
    <dgm:pt modelId="{F3711F94-4901-4E2A-90CA-AFB3CC79E8F4}" type="parTrans" cxnId="{83C48663-5885-41A2-8CBA-23FD43DDD45B}">
      <dgm:prSet/>
      <dgm:spPr/>
      <dgm:t>
        <a:bodyPr/>
        <a:lstStyle/>
        <a:p>
          <a:endParaRPr lang="da-DK"/>
        </a:p>
      </dgm:t>
    </dgm:pt>
    <dgm:pt modelId="{396E570A-DBAE-446A-A338-CAD39ADF0B69}" type="sibTrans" cxnId="{83C48663-5885-41A2-8CBA-23FD43DDD45B}">
      <dgm:prSet/>
      <dgm:spPr/>
      <dgm:t>
        <a:bodyPr/>
        <a:lstStyle/>
        <a:p>
          <a:endParaRPr lang="da-DK"/>
        </a:p>
      </dgm:t>
    </dgm:pt>
    <dgm:pt modelId="{C5593735-1862-4093-86B8-DE3961E99AB2}">
      <dgm:prSet phldrT="[Tekst]" custT="1"/>
      <dgm:spPr/>
      <dgm:t>
        <a:bodyPr/>
        <a:lstStyle/>
        <a:p>
          <a:pPr algn="l"/>
          <a:r>
            <a:rPr lang="da-DK" sz="1100" u="sng" dirty="0" smtClean="0"/>
            <a:t>Ledelse</a:t>
          </a:r>
          <a:endParaRPr lang="da-DK" sz="1100" u="sng" dirty="0"/>
        </a:p>
      </dgm:t>
    </dgm:pt>
    <dgm:pt modelId="{B885E1C5-7F80-4C16-9446-D8FB941241C0}" type="parTrans" cxnId="{180567CB-396E-44F1-B992-E3CB4A40A772}">
      <dgm:prSet/>
      <dgm:spPr/>
      <dgm:t>
        <a:bodyPr/>
        <a:lstStyle/>
        <a:p>
          <a:endParaRPr lang="da-DK"/>
        </a:p>
      </dgm:t>
    </dgm:pt>
    <dgm:pt modelId="{37039AB7-E0CE-4C36-80A8-67D649B0720D}" type="sibTrans" cxnId="{180567CB-396E-44F1-B992-E3CB4A40A772}">
      <dgm:prSet/>
      <dgm:spPr/>
      <dgm:t>
        <a:bodyPr/>
        <a:lstStyle/>
        <a:p>
          <a:endParaRPr lang="da-DK"/>
        </a:p>
      </dgm:t>
    </dgm:pt>
    <dgm:pt modelId="{C3F6C105-28AD-486E-A1DF-D63F663553AD}">
      <dgm:prSet phldrT="[Tekst]" custT="1"/>
      <dgm:spPr/>
      <dgm:t>
        <a:bodyPr/>
        <a:lstStyle/>
        <a:p>
          <a:pPr algn="l"/>
          <a:r>
            <a:rPr lang="da-DK" sz="1100" u="sng" dirty="0" smtClean="0"/>
            <a:t>Uddannelse</a:t>
          </a:r>
          <a:endParaRPr lang="da-DK" sz="1100" u="sng" dirty="0"/>
        </a:p>
      </dgm:t>
    </dgm:pt>
    <dgm:pt modelId="{6FF77C9F-4E8D-421F-A1D6-AD1F294D3133}" type="parTrans" cxnId="{AF711DEF-AB41-448E-8090-209894FB87DD}">
      <dgm:prSet/>
      <dgm:spPr/>
      <dgm:t>
        <a:bodyPr/>
        <a:lstStyle/>
        <a:p>
          <a:endParaRPr lang="da-DK"/>
        </a:p>
      </dgm:t>
    </dgm:pt>
    <dgm:pt modelId="{DA5914A8-4C0C-4B52-B1AA-61E78CD70300}" type="sibTrans" cxnId="{AF711DEF-AB41-448E-8090-209894FB87DD}">
      <dgm:prSet/>
      <dgm:spPr/>
      <dgm:t>
        <a:bodyPr/>
        <a:lstStyle/>
        <a:p>
          <a:endParaRPr lang="da-DK"/>
        </a:p>
      </dgm:t>
    </dgm:pt>
    <dgm:pt modelId="{EBCB2525-4071-4AE0-9139-D07F634F9937}">
      <dgm:prSet phldrT="[Tekst]" custT="1"/>
      <dgm:spPr/>
      <dgm:t>
        <a:bodyPr/>
        <a:lstStyle/>
        <a:p>
          <a:pPr algn="l"/>
          <a:r>
            <a:rPr lang="da-DK" sz="1100" dirty="0" smtClean="0"/>
            <a:t>GRP </a:t>
          </a:r>
          <a:r>
            <a:rPr lang="da-DK" sz="1100" dirty="0" smtClean="0">
              <a:sym typeface="Wingdings" panose="05000000000000000000" pitchFamily="2" charset="2"/>
            </a:rPr>
            <a:t>Krise/krig</a:t>
          </a:r>
          <a:endParaRPr lang="da-DK" sz="1100" dirty="0"/>
        </a:p>
      </dgm:t>
    </dgm:pt>
    <dgm:pt modelId="{1EDE7A3E-257F-4A13-9060-3800376428BA}" type="parTrans" cxnId="{3A481BAC-30CD-4714-8ECC-F47CBF6F09D5}">
      <dgm:prSet/>
      <dgm:spPr/>
      <dgm:t>
        <a:bodyPr/>
        <a:lstStyle/>
        <a:p>
          <a:endParaRPr lang="da-DK"/>
        </a:p>
      </dgm:t>
    </dgm:pt>
    <dgm:pt modelId="{752EBA0B-69EA-4855-9808-ED787DF6BC8E}" type="sibTrans" cxnId="{3A481BAC-30CD-4714-8ECC-F47CBF6F09D5}">
      <dgm:prSet/>
      <dgm:spPr/>
      <dgm:t>
        <a:bodyPr/>
        <a:lstStyle/>
        <a:p>
          <a:endParaRPr lang="da-DK"/>
        </a:p>
      </dgm:t>
    </dgm:pt>
    <dgm:pt modelId="{65608C43-BAEA-4322-8DE8-15D64B1A515B}">
      <dgm:prSet phldrT="[Tekst]" custT="1"/>
      <dgm:spPr/>
      <dgm:t>
        <a:bodyPr/>
        <a:lstStyle/>
        <a:p>
          <a:pPr algn="l"/>
          <a:r>
            <a:rPr lang="da-DK" sz="1100" dirty="0" smtClean="0"/>
            <a:t>Ledelsesgrundlag i rammen af GRP</a:t>
          </a:r>
          <a:endParaRPr lang="da-DK" sz="1100" dirty="0"/>
        </a:p>
      </dgm:t>
    </dgm:pt>
    <dgm:pt modelId="{EFE6C41B-E302-4AA8-9F94-350ED72A481F}" type="parTrans" cxnId="{8DCC4D0C-EC60-4C7A-AEDF-8481B7A69604}">
      <dgm:prSet/>
      <dgm:spPr/>
      <dgm:t>
        <a:bodyPr/>
        <a:lstStyle/>
        <a:p>
          <a:endParaRPr lang="da-DK"/>
        </a:p>
      </dgm:t>
    </dgm:pt>
    <dgm:pt modelId="{28EC4513-A62F-4052-B5FB-525857E3A519}" type="sibTrans" cxnId="{8DCC4D0C-EC60-4C7A-AEDF-8481B7A69604}">
      <dgm:prSet/>
      <dgm:spPr/>
      <dgm:t>
        <a:bodyPr/>
        <a:lstStyle/>
        <a:p>
          <a:endParaRPr lang="da-DK"/>
        </a:p>
      </dgm:t>
    </dgm:pt>
    <dgm:pt modelId="{DB590001-5093-4C97-B2C7-3038D8B07A19}">
      <dgm:prSet phldrT="[Tekst]" custT="1"/>
      <dgm:spPr/>
      <dgm:t>
        <a:bodyPr/>
        <a:lstStyle/>
        <a:p>
          <a:pPr algn="l"/>
          <a:r>
            <a:rPr lang="da-DK" sz="1100" u="none" dirty="0" smtClean="0"/>
            <a:t>GSU/ALM</a:t>
          </a:r>
          <a:endParaRPr lang="da-DK" sz="1100" u="none" dirty="0"/>
        </a:p>
      </dgm:t>
    </dgm:pt>
    <dgm:pt modelId="{47CB0603-43E0-4E4A-995D-64E9A68F2D5C}" type="parTrans" cxnId="{AFCB0ED8-D2F2-4DBA-95A1-D1FBC7116FBD}">
      <dgm:prSet/>
      <dgm:spPr/>
      <dgm:t>
        <a:bodyPr/>
        <a:lstStyle/>
        <a:p>
          <a:endParaRPr lang="da-DK"/>
        </a:p>
      </dgm:t>
    </dgm:pt>
    <dgm:pt modelId="{853EEB83-647D-4BF6-989F-DC55E0905F59}" type="sibTrans" cxnId="{AFCB0ED8-D2F2-4DBA-95A1-D1FBC7116FBD}">
      <dgm:prSet/>
      <dgm:spPr/>
      <dgm:t>
        <a:bodyPr/>
        <a:lstStyle/>
        <a:p>
          <a:endParaRPr lang="da-DK"/>
        </a:p>
      </dgm:t>
    </dgm:pt>
    <dgm:pt modelId="{7540EBED-EFBD-42E2-B6AB-A7E4B806BDB2}">
      <dgm:prSet phldrT="[Tekst]" custT="1"/>
      <dgm:spPr/>
      <dgm:t>
        <a:bodyPr/>
        <a:lstStyle/>
        <a:p>
          <a:pPr algn="l"/>
          <a:endParaRPr lang="da-DK" sz="1100" u="none" dirty="0"/>
        </a:p>
      </dgm:t>
    </dgm:pt>
    <dgm:pt modelId="{9EC2EB14-F658-4E49-80EB-31CBD240B78B}" type="parTrans" cxnId="{C210DCD5-EE49-414E-BD88-AE95E8DD960B}">
      <dgm:prSet/>
      <dgm:spPr/>
      <dgm:t>
        <a:bodyPr/>
        <a:lstStyle/>
        <a:p>
          <a:endParaRPr lang="da-DK"/>
        </a:p>
      </dgm:t>
    </dgm:pt>
    <dgm:pt modelId="{6394A65B-0E74-410F-A176-7C70540F3F66}" type="sibTrans" cxnId="{C210DCD5-EE49-414E-BD88-AE95E8DD960B}">
      <dgm:prSet/>
      <dgm:spPr/>
      <dgm:t>
        <a:bodyPr/>
        <a:lstStyle/>
        <a:p>
          <a:endParaRPr lang="da-DK"/>
        </a:p>
      </dgm:t>
    </dgm:pt>
    <dgm:pt modelId="{E71CB147-02D6-47A9-8E47-4A097A4AE10F}">
      <dgm:prSet phldrT="[Tekst]" custT="1"/>
      <dgm:spPr/>
      <dgm:t>
        <a:bodyPr/>
        <a:lstStyle/>
        <a:p>
          <a:pPr algn="l"/>
          <a:r>
            <a:rPr lang="da-DK" sz="1100" dirty="0" smtClean="0"/>
            <a:t>DEL </a:t>
          </a:r>
          <a:r>
            <a:rPr lang="da-DK" sz="1100" dirty="0" smtClean="0">
              <a:sym typeface="Wingdings" panose="05000000000000000000" pitchFamily="2" charset="2"/>
            </a:rPr>
            <a:t>Krise/krig</a:t>
          </a:r>
          <a:endParaRPr lang="da-DK" sz="1100" dirty="0"/>
        </a:p>
      </dgm:t>
    </dgm:pt>
    <dgm:pt modelId="{34A4FD02-F901-455D-B395-CB2EEC7CC1E3}" type="parTrans" cxnId="{0A708DBD-A1D1-47F7-B672-01A7DCC1A1C7}">
      <dgm:prSet/>
      <dgm:spPr/>
      <dgm:t>
        <a:bodyPr/>
        <a:lstStyle/>
        <a:p>
          <a:endParaRPr lang="da-DK"/>
        </a:p>
      </dgm:t>
    </dgm:pt>
    <dgm:pt modelId="{1FD2D113-E6A9-48F8-AD14-4E3511D9228E}" type="sibTrans" cxnId="{0A708DBD-A1D1-47F7-B672-01A7DCC1A1C7}">
      <dgm:prSet/>
      <dgm:spPr/>
      <dgm:t>
        <a:bodyPr/>
        <a:lstStyle/>
        <a:p>
          <a:endParaRPr lang="da-DK"/>
        </a:p>
      </dgm:t>
    </dgm:pt>
    <dgm:pt modelId="{FC81402C-CF09-41EF-A621-DF4AC34DB796}">
      <dgm:prSet phldrT="[Tekst]" custT="1"/>
      <dgm:spPr/>
      <dgm:t>
        <a:bodyPr/>
        <a:lstStyle/>
        <a:p>
          <a:pPr algn="l"/>
          <a:r>
            <a:rPr lang="da-DK" sz="1100" u="sng" dirty="0" smtClean="0"/>
            <a:t>Ledelse</a:t>
          </a:r>
          <a:endParaRPr lang="da-DK" sz="1100" u="sng" dirty="0"/>
        </a:p>
      </dgm:t>
    </dgm:pt>
    <dgm:pt modelId="{8530A87E-F14B-467B-AF19-61AEC6F76C36}" type="parTrans" cxnId="{0C8C0BFF-AA47-4BF9-B3C0-EEC4A5D43685}">
      <dgm:prSet/>
      <dgm:spPr/>
      <dgm:t>
        <a:bodyPr/>
        <a:lstStyle/>
        <a:p>
          <a:endParaRPr lang="da-DK"/>
        </a:p>
      </dgm:t>
    </dgm:pt>
    <dgm:pt modelId="{3F5D2520-F4A5-4EB5-B16F-A2E28FC2ADDA}" type="sibTrans" cxnId="{0C8C0BFF-AA47-4BF9-B3C0-EEC4A5D43685}">
      <dgm:prSet/>
      <dgm:spPr/>
      <dgm:t>
        <a:bodyPr/>
        <a:lstStyle/>
        <a:p>
          <a:endParaRPr lang="da-DK"/>
        </a:p>
      </dgm:t>
    </dgm:pt>
    <dgm:pt modelId="{E68387FB-C6DA-4448-80C0-3E52B134C216}">
      <dgm:prSet phldrT="[Tekst]" custT="1"/>
      <dgm:spPr/>
      <dgm:t>
        <a:bodyPr/>
        <a:lstStyle/>
        <a:p>
          <a:pPr algn="l"/>
          <a:r>
            <a:rPr lang="da-DK" sz="1100" dirty="0" smtClean="0"/>
            <a:t>Ledelsesgrundlag i rammen af DEL</a:t>
          </a:r>
          <a:endParaRPr lang="da-DK" sz="1100" dirty="0"/>
        </a:p>
      </dgm:t>
    </dgm:pt>
    <dgm:pt modelId="{0EFD18E5-A062-448F-9AE2-A1DAFC380D78}" type="parTrans" cxnId="{DB61DC00-80C8-4A1B-BEEC-BDEBFF81E2F7}">
      <dgm:prSet/>
      <dgm:spPr/>
      <dgm:t>
        <a:bodyPr/>
        <a:lstStyle/>
        <a:p>
          <a:endParaRPr lang="da-DK"/>
        </a:p>
      </dgm:t>
    </dgm:pt>
    <dgm:pt modelId="{7DB934C0-D47E-46EC-BE17-06B0404B5663}" type="sibTrans" cxnId="{DB61DC00-80C8-4A1B-BEEC-BDEBFF81E2F7}">
      <dgm:prSet/>
      <dgm:spPr/>
      <dgm:t>
        <a:bodyPr/>
        <a:lstStyle/>
        <a:p>
          <a:endParaRPr lang="da-DK"/>
        </a:p>
      </dgm:t>
    </dgm:pt>
    <dgm:pt modelId="{3FC69CAD-E6CE-49C1-9853-A6518733D742}">
      <dgm:prSet phldrT="[Tekst]" custT="1"/>
      <dgm:spPr/>
      <dgm:t>
        <a:bodyPr/>
        <a:lstStyle/>
        <a:p>
          <a:pPr algn="l"/>
          <a:r>
            <a:rPr lang="da-DK" sz="1100" u="sng" dirty="0" smtClean="0"/>
            <a:t>Uddannelse</a:t>
          </a:r>
          <a:endParaRPr lang="da-DK" sz="1100" u="sng" dirty="0"/>
        </a:p>
      </dgm:t>
    </dgm:pt>
    <dgm:pt modelId="{F4D5121E-3F6F-4D07-8DA9-7591AEFB7F05}" type="parTrans" cxnId="{78916AD5-6053-4B2F-8004-2C3443F73E45}">
      <dgm:prSet/>
      <dgm:spPr/>
      <dgm:t>
        <a:bodyPr/>
        <a:lstStyle/>
        <a:p>
          <a:endParaRPr lang="da-DK"/>
        </a:p>
      </dgm:t>
    </dgm:pt>
    <dgm:pt modelId="{B9E1923F-8ABB-4BF3-944C-C561A9A00D08}" type="sibTrans" cxnId="{78916AD5-6053-4B2F-8004-2C3443F73E45}">
      <dgm:prSet/>
      <dgm:spPr/>
      <dgm:t>
        <a:bodyPr/>
        <a:lstStyle/>
        <a:p>
          <a:endParaRPr lang="da-DK"/>
        </a:p>
      </dgm:t>
    </dgm:pt>
    <dgm:pt modelId="{7D42D557-3871-4643-AA33-CDC834252D3F}">
      <dgm:prSet phldrT="[Tekst]" custT="1"/>
      <dgm:spPr/>
      <dgm:t>
        <a:bodyPr/>
        <a:lstStyle/>
        <a:p>
          <a:pPr algn="l"/>
          <a:r>
            <a:rPr lang="da-DK" sz="1100" u="none" dirty="0" smtClean="0"/>
            <a:t>OSU</a:t>
          </a:r>
          <a:endParaRPr lang="da-DK" sz="1100" u="none" dirty="0"/>
        </a:p>
      </dgm:t>
    </dgm:pt>
    <dgm:pt modelId="{6847641F-42AA-424F-9938-DD64C350C592}" type="parTrans" cxnId="{7C697779-B294-46BD-904D-E02670906785}">
      <dgm:prSet/>
      <dgm:spPr/>
      <dgm:t>
        <a:bodyPr/>
        <a:lstStyle/>
        <a:p>
          <a:endParaRPr lang="da-DK"/>
        </a:p>
      </dgm:t>
    </dgm:pt>
    <dgm:pt modelId="{1F441A91-60F2-4B63-9384-F5595790FECE}" type="sibTrans" cxnId="{7C697779-B294-46BD-904D-E02670906785}">
      <dgm:prSet/>
      <dgm:spPr/>
      <dgm:t>
        <a:bodyPr/>
        <a:lstStyle/>
        <a:p>
          <a:endParaRPr lang="da-DK"/>
        </a:p>
      </dgm:t>
    </dgm:pt>
    <dgm:pt modelId="{58915889-04EE-443C-B608-15BF9BE5625C}">
      <dgm:prSet phldrT="[Tekst]" custT="1"/>
      <dgm:spPr/>
      <dgm:t>
        <a:bodyPr/>
        <a:lstStyle/>
        <a:p>
          <a:pPr algn="l"/>
          <a:r>
            <a:rPr lang="da-DK" sz="1100" u="none" dirty="0" smtClean="0"/>
            <a:t>MAU</a:t>
          </a:r>
          <a:endParaRPr lang="da-DK" sz="1100" u="none" dirty="0"/>
        </a:p>
      </dgm:t>
    </dgm:pt>
    <dgm:pt modelId="{CD130890-BE7E-42E8-9D3C-A75B9D2929E6}" type="parTrans" cxnId="{82DCBBFD-7866-4912-8AD7-425E8E7B1DF1}">
      <dgm:prSet/>
      <dgm:spPr/>
      <dgm:t>
        <a:bodyPr/>
        <a:lstStyle/>
        <a:p>
          <a:endParaRPr lang="da-DK"/>
        </a:p>
      </dgm:t>
    </dgm:pt>
    <dgm:pt modelId="{5DC6A5D9-197F-4C98-9D09-DFFC42E0C980}" type="sibTrans" cxnId="{82DCBBFD-7866-4912-8AD7-425E8E7B1DF1}">
      <dgm:prSet/>
      <dgm:spPr/>
      <dgm:t>
        <a:bodyPr/>
        <a:lstStyle/>
        <a:p>
          <a:endParaRPr lang="da-DK"/>
        </a:p>
      </dgm:t>
    </dgm:pt>
    <dgm:pt modelId="{2DF5845F-E145-43F2-A171-DC10421FC9A3}">
      <dgm:prSet phldrT="[Tekst]"/>
      <dgm:spPr/>
      <dgm:t>
        <a:bodyPr/>
        <a:lstStyle/>
        <a:p>
          <a:pPr algn="ctr"/>
          <a:r>
            <a:rPr lang="da-DK" sz="1400" b="1" dirty="0" smtClean="0"/>
            <a:t>Seniorsergent</a:t>
          </a:r>
          <a:endParaRPr lang="da-DK" sz="1400" dirty="0"/>
        </a:p>
      </dgm:t>
    </dgm:pt>
    <dgm:pt modelId="{3B1AB83F-5649-4D3D-B001-46BDB2C109FC}" type="parTrans" cxnId="{6FF73411-CFD3-4628-B784-585D94C687F0}">
      <dgm:prSet/>
      <dgm:spPr/>
      <dgm:t>
        <a:bodyPr/>
        <a:lstStyle/>
        <a:p>
          <a:endParaRPr lang="da-DK"/>
        </a:p>
      </dgm:t>
    </dgm:pt>
    <dgm:pt modelId="{EDD4BEE3-4CCE-4620-B6D6-B9CF0BD1A119}" type="sibTrans" cxnId="{6FF73411-CFD3-4628-B784-585D94C687F0}">
      <dgm:prSet/>
      <dgm:spPr/>
      <dgm:t>
        <a:bodyPr/>
        <a:lstStyle/>
        <a:p>
          <a:endParaRPr lang="da-DK"/>
        </a:p>
      </dgm:t>
    </dgm:pt>
    <dgm:pt modelId="{74FA0E9D-45D5-4B5F-A9E4-12C5FFC3C7B5}">
      <dgm:prSet phldrT="[Tekst]" custT="1"/>
      <dgm:spPr/>
      <dgm:t>
        <a:bodyPr/>
        <a:lstStyle/>
        <a:p>
          <a:pPr algn="l"/>
          <a:r>
            <a:rPr lang="da-DK" sz="1100" u="sng" dirty="0" smtClean="0"/>
            <a:t>Føring</a:t>
          </a:r>
          <a:endParaRPr lang="da-DK" sz="1100" u="sng" dirty="0"/>
        </a:p>
      </dgm:t>
    </dgm:pt>
    <dgm:pt modelId="{54B6F8D8-7C97-4D56-A9FD-BE3AEE6403B5}" type="sibTrans" cxnId="{E9A990D6-B3B3-4537-B099-6831BDA47DD3}">
      <dgm:prSet/>
      <dgm:spPr/>
      <dgm:t>
        <a:bodyPr/>
        <a:lstStyle/>
        <a:p>
          <a:endParaRPr lang="da-DK"/>
        </a:p>
      </dgm:t>
    </dgm:pt>
    <dgm:pt modelId="{0814A70A-2389-4816-B786-4BFB9A928150}" type="parTrans" cxnId="{E9A990D6-B3B3-4537-B099-6831BDA47DD3}">
      <dgm:prSet/>
      <dgm:spPr/>
      <dgm:t>
        <a:bodyPr/>
        <a:lstStyle/>
        <a:p>
          <a:endParaRPr lang="da-DK"/>
        </a:p>
      </dgm:t>
    </dgm:pt>
    <dgm:pt modelId="{BB2D715F-0DD4-4211-8F36-8E75FADCA7C1}">
      <dgm:prSet phldrT="[Tekst]" custT="1"/>
      <dgm:spPr/>
      <dgm:t>
        <a:bodyPr/>
        <a:lstStyle/>
        <a:p>
          <a:pPr algn="l"/>
          <a:r>
            <a:rPr lang="da-DK" sz="1100" u="none" dirty="0" smtClean="0"/>
            <a:t>LAM</a:t>
          </a:r>
          <a:endParaRPr lang="da-DK" sz="1100" u="none" dirty="0"/>
        </a:p>
      </dgm:t>
    </dgm:pt>
    <dgm:pt modelId="{2C243CF7-BDE0-4470-A588-682B07439C66}" type="parTrans" cxnId="{3ADDFF99-C9AB-4BF8-8F3A-15BEDF479E1B}">
      <dgm:prSet/>
      <dgm:spPr/>
      <dgm:t>
        <a:bodyPr/>
        <a:lstStyle/>
        <a:p>
          <a:endParaRPr lang="da-DK"/>
        </a:p>
      </dgm:t>
    </dgm:pt>
    <dgm:pt modelId="{C941CBE5-7B6D-49E7-A0AF-76EB03E05C51}" type="sibTrans" cxnId="{3ADDFF99-C9AB-4BF8-8F3A-15BEDF479E1B}">
      <dgm:prSet/>
      <dgm:spPr/>
      <dgm:t>
        <a:bodyPr/>
        <a:lstStyle/>
        <a:p>
          <a:endParaRPr lang="da-DK"/>
        </a:p>
      </dgm:t>
    </dgm:pt>
    <dgm:pt modelId="{3E357DCC-4152-4696-B602-7C9E31B1FBEE}">
      <dgm:prSet phldrT="[Tekst]" custT="1"/>
      <dgm:spPr/>
      <dgm:t>
        <a:bodyPr/>
        <a:lstStyle/>
        <a:p>
          <a:pPr algn="l"/>
          <a:r>
            <a:rPr lang="da-DK" sz="1100" u="none" dirty="0" smtClean="0"/>
            <a:t>GTH</a:t>
          </a:r>
          <a:endParaRPr lang="da-DK" sz="1100" u="none" dirty="0"/>
        </a:p>
      </dgm:t>
    </dgm:pt>
    <dgm:pt modelId="{F7B90A04-DA04-4028-B3AB-1978E02A23F5}" type="parTrans" cxnId="{5A4E030E-2015-469E-A31D-8A865F70BC7D}">
      <dgm:prSet/>
      <dgm:spPr/>
      <dgm:t>
        <a:bodyPr/>
        <a:lstStyle/>
        <a:p>
          <a:endParaRPr lang="da-DK"/>
        </a:p>
      </dgm:t>
    </dgm:pt>
    <dgm:pt modelId="{39B1F9F9-FE04-496B-87A1-440AFC56820C}" type="sibTrans" cxnId="{5A4E030E-2015-469E-A31D-8A865F70BC7D}">
      <dgm:prSet/>
      <dgm:spPr/>
      <dgm:t>
        <a:bodyPr/>
        <a:lstStyle/>
        <a:p>
          <a:endParaRPr lang="da-DK"/>
        </a:p>
      </dgm:t>
    </dgm:pt>
    <dgm:pt modelId="{C463BEA7-C2FC-402B-85FE-56EEB9D0267C}">
      <dgm:prSet phldrT="[Tekst]" custT="1"/>
      <dgm:spPr/>
      <dgm:t>
        <a:bodyPr/>
        <a:lstStyle/>
        <a:p>
          <a:r>
            <a:rPr lang="da-DK" sz="1100" u="sng" dirty="0" smtClean="0"/>
            <a:t>Føring</a:t>
          </a:r>
          <a:endParaRPr lang="da-DK" sz="1100" dirty="0"/>
        </a:p>
      </dgm:t>
    </dgm:pt>
    <dgm:pt modelId="{DEF31CB2-BD7E-4397-AEF5-B5F61647E2DE}" type="parTrans" cxnId="{44E6494D-F3A9-4708-B4D2-E148D61BA520}">
      <dgm:prSet/>
      <dgm:spPr/>
      <dgm:t>
        <a:bodyPr/>
        <a:lstStyle/>
        <a:p>
          <a:endParaRPr lang="da-DK"/>
        </a:p>
      </dgm:t>
    </dgm:pt>
    <dgm:pt modelId="{D7B61385-E475-4C53-BD40-8AA95128C69C}" type="sibTrans" cxnId="{44E6494D-F3A9-4708-B4D2-E148D61BA520}">
      <dgm:prSet/>
      <dgm:spPr/>
      <dgm:t>
        <a:bodyPr/>
        <a:lstStyle/>
        <a:p>
          <a:endParaRPr lang="da-DK"/>
        </a:p>
      </dgm:t>
    </dgm:pt>
    <dgm:pt modelId="{BEF2B3A1-E00D-4B9C-8797-0B85C3E49941}">
      <dgm:prSet custT="1"/>
      <dgm:spPr/>
      <dgm:t>
        <a:bodyPr/>
        <a:lstStyle/>
        <a:p>
          <a:r>
            <a:rPr lang="da-DK" sz="1100" dirty="0" smtClean="0"/>
            <a:t>AFD </a:t>
          </a:r>
          <a:r>
            <a:rPr lang="da-DK" sz="1100" dirty="0" smtClean="0">
              <a:sym typeface="Wingdings" panose="05000000000000000000" pitchFamily="2" charset="2"/>
            </a:rPr>
            <a:t> Krise/krig</a:t>
          </a:r>
          <a:endParaRPr lang="da-DK" sz="1100" dirty="0" smtClean="0"/>
        </a:p>
      </dgm:t>
    </dgm:pt>
    <dgm:pt modelId="{32002A0C-B4BA-40D4-A75C-75047110DF12}" type="parTrans" cxnId="{975F1EC2-99C0-4F33-B978-820763105B9D}">
      <dgm:prSet/>
      <dgm:spPr/>
      <dgm:t>
        <a:bodyPr/>
        <a:lstStyle/>
        <a:p>
          <a:endParaRPr lang="da-DK"/>
        </a:p>
      </dgm:t>
    </dgm:pt>
    <dgm:pt modelId="{E93D6EF1-0D9B-4E43-94DD-E00E0A495E4E}" type="sibTrans" cxnId="{975F1EC2-99C0-4F33-B978-820763105B9D}">
      <dgm:prSet/>
      <dgm:spPr/>
      <dgm:t>
        <a:bodyPr/>
        <a:lstStyle/>
        <a:p>
          <a:endParaRPr lang="da-DK"/>
        </a:p>
      </dgm:t>
    </dgm:pt>
    <dgm:pt modelId="{8D00209A-8093-4F5C-8E51-2A1F92A186FA}">
      <dgm:prSet custT="1"/>
      <dgm:spPr/>
      <dgm:t>
        <a:bodyPr/>
        <a:lstStyle/>
        <a:p>
          <a:r>
            <a:rPr lang="da-DK" sz="1100" u="sng" dirty="0" smtClean="0"/>
            <a:t>Ledelse</a:t>
          </a:r>
        </a:p>
      </dgm:t>
    </dgm:pt>
    <dgm:pt modelId="{37B985CC-7BC3-4B48-A283-E06058F6694E}" type="parTrans" cxnId="{03058C8E-1A15-4EC1-8E23-8D3A4536ABE8}">
      <dgm:prSet/>
      <dgm:spPr/>
      <dgm:t>
        <a:bodyPr/>
        <a:lstStyle/>
        <a:p>
          <a:endParaRPr lang="da-DK"/>
        </a:p>
      </dgm:t>
    </dgm:pt>
    <dgm:pt modelId="{65D474AC-0ECA-4187-A6ED-510A4DE8022A}" type="sibTrans" cxnId="{03058C8E-1A15-4EC1-8E23-8D3A4536ABE8}">
      <dgm:prSet/>
      <dgm:spPr/>
      <dgm:t>
        <a:bodyPr/>
        <a:lstStyle/>
        <a:p>
          <a:endParaRPr lang="da-DK"/>
        </a:p>
      </dgm:t>
    </dgm:pt>
    <dgm:pt modelId="{640D3587-9577-4522-8432-B0497F466F4C}">
      <dgm:prSet custT="1"/>
      <dgm:spPr/>
      <dgm:t>
        <a:bodyPr/>
        <a:lstStyle/>
        <a:p>
          <a:r>
            <a:rPr lang="da-DK" sz="1100" dirty="0" smtClean="0"/>
            <a:t>Ledelsesgrundlag i rammen af AFD</a:t>
          </a:r>
        </a:p>
      </dgm:t>
    </dgm:pt>
    <dgm:pt modelId="{F75BBFB0-6206-419A-BA42-2FAB6189CE7A}" type="parTrans" cxnId="{CAA6DDD8-11F8-4DED-83F4-E2786F39DA19}">
      <dgm:prSet/>
      <dgm:spPr/>
      <dgm:t>
        <a:bodyPr/>
        <a:lstStyle/>
        <a:p>
          <a:endParaRPr lang="da-DK"/>
        </a:p>
      </dgm:t>
    </dgm:pt>
    <dgm:pt modelId="{AB4DA07F-B7D7-449C-8ADD-481DA45614ED}" type="sibTrans" cxnId="{CAA6DDD8-11F8-4DED-83F4-E2786F39DA19}">
      <dgm:prSet/>
      <dgm:spPr/>
      <dgm:t>
        <a:bodyPr/>
        <a:lstStyle/>
        <a:p>
          <a:endParaRPr lang="da-DK"/>
        </a:p>
      </dgm:t>
    </dgm:pt>
    <dgm:pt modelId="{977E2843-9D92-4FBA-9B6E-3A263926A6FD}">
      <dgm:prSet custT="1"/>
      <dgm:spPr/>
      <dgm:t>
        <a:bodyPr/>
        <a:lstStyle/>
        <a:p>
          <a:r>
            <a:rPr lang="da-DK" sz="1100" u="sng" dirty="0" smtClean="0"/>
            <a:t>Uddannelse</a:t>
          </a:r>
        </a:p>
      </dgm:t>
    </dgm:pt>
    <dgm:pt modelId="{874A9310-713E-42B7-A63D-64176798141A}" type="parTrans" cxnId="{83088CB5-5B5E-42B8-9ADC-CEB66DCC29BA}">
      <dgm:prSet/>
      <dgm:spPr/>
      <dgm:t>
        <a:bodyPr/>
        <a:lstStyle/>
        <a:p>
          <a:endParaRPr lang="da-DK"/>
        </a:p>
      </dgm:t>
    </dgm:pt>
    <dgm:pt modelId="{B992C93F-5B5C-4BE4-83F4-87BE2104AD91}" type="sibTrans" cxnId="{83088CB5-5B5E-42B8-9ADC-CEB66DCC29BA}">
      <dgm:prSet/>
      <dgm:spPr/>
      <dgm:t>
        <a:bodyPr/>
        <a:lstStyle/>
        <a:p>
          <a:endParaRPr lang="da-DK"/>
        </a:p>
      </dgm:t>
    </dgm:pt>
    <dgm:pt modelId="{B22932C7-D53B-4789-AE91-6313DBB47A24}">
      <dgm:prSet custT="1"/>
      <dgm:spPr/>
      <dgm:t>
        <a:bodyPr/>
        <a:lstStyle/>
        <a:p>
          <a:r>
            <a:rPr lang="da-DK" sz="1100" u="none" dirty="0" smtClean="0"/>
            <a:t>Yderligere </a:t>
          </a:r>
          <a:r>
            <a:rPr lang="da-DK" sz="1100" u="none" dirty="0" err="1" smtClean="0"/>
            <a:t>spec</a:t>
          </a:r>
          <a:r>
            <a:rPr lang="da-DK" sz="1100" u="none" dirty="0" smtClean="0"/>
            <a:t>.</a:t>
          </a:r>
        </a:p>
      </dgm:t>
    </dgm:pt>
    <dgm:pt modelId="{92FDF0D7-C40D-44E9-80DE-425955535223}" type="parTrans" cxnId="{590695BC-4A05-4441-8C89-4BC5DAE7E405}">
      <dgm:prSet/>
      <dgm:spPr/>
      <dgm:t>
        <a:bodyPr/>
        <a:lstStyle/>
        <a:p>
          <a:endParaRPr lang="da-DK"/>
        </a:p>
      </dgm:t>
    </dgm:pt>
    <dgm:pt modelId="{A6E9743A-F249-4CD7-AE4D-42055D7C897B}" type="sibTrans" cxnId="{590695BC-4A05-4441-8C89-4BC5DAE7E405}">
      <dgm:prSet/>
      <dgm:spPr/>
      <dgm:t>
        <a:bodyPr/>
        <a:lstStyle/>
        <a:p>
          <a:endParaRPr lang="da-DK"/>
        </a:p>
      </dgm:t>
    </dgm:pt>
    <dgm:pt modelId="{18A820E3-4BCE-4670-BE27-C193C38E95DA}">
      <dgm:prSet custT="1"/>
      <dgm:spPr/>
      <dgm:t>
        <a:bodyPr/>
        <a:lstStyle/>
        <a:p>
          <a:r>
            <a:rPr lang="da-DK" sz="1100" u="none" dirty="0" smtClean="0"/>
            <a:t>MAU</a:t>
          </a:r>
        </a:p>
      </dgm:t>
    </dgm:pt>
    <dgm:pt modelId="{F514A5A7-60F3-4CA4-AFAE-E1BE5ACBAEA0}" type="parTrans" cxnId="{4EF1AA4E-66F3-45C8-BA6B-9661EC76D74A}">
      <dgm:prSet/>
      <dgm:spPr/>
      <dgm:t>
        <a:bodyPr/>
        <a:lstStyle/>
        <a:p>
          <a:endParaRPr lang="da-DK"/>
        </a:p>
      </dgm:t>
    </dgm:pt>
    <dgm:pt modelId="{8F4BCCC3-802C-4910-A82A-C6AF365E8827}" type="sibTrans" cxnId="{4EF1AA4E-66F3-45C8-BA6B-9661EC76D74A}">
      <dgm:prSet/>
      <dgm:spPr/>
      <dgm:t>
        <a:bodyPr/>
        <a:lstStyle/>
        <a:p>
          <a:endParaRPr lang="da-DK"/>
        </a:p>
      </dgm:t>
    </dgm:pt>
    <dgm:pt modelId="{FC8A929F-3A33-42E2-B59F-C8F020D08D90}">
      <dgm:prSet custT="1"/>
      <dgm:spPr/>
      <dgm:t>
        <a:bodyPr/>
        <a:lstStyle/>
        <a:p>
          <a:r>
            <a:rPr lang="da-DK" sz="1100" u="none" dirty="0" smtClean="0"/>
            <a:t>NIV-6 UDD</a:t>
          </a:r>
        </a:p>
      </dgm:t>
    </dgm:pt>
    <dgm:pt modelId="{C1783CF4-408D-4BE7-A8FC-D4624C00C80E}" type="parTrans" cxnId="{AC0DC033-1516-4C60-A06D-E32AFEACF640}">
      <dgm:prSet/>
      <dgm:spPr/>
      <dgm:t>
        <a:bodyPr/>
        <a:lstStyle/>
        <a:p>
          <a:endParaRPr lang="da-DK"/>
        </a:p>
      </dgm:t>
    </dgm:pt>
    <dgm:pt modelId="{641CE110-C7C5-490E-9384-2FC33AF62E59}" type="sibTrans" cxnId="{AC0DC033-1516-4C60-A06D-E32AFEACF640}">
      <dgm:prSet/>
      <dgm:spPr/>
      <dgm:t>
        <a:bodyPr/>
        <a:lstStyle/>
        <a:p>
          <a:endParaRPr lang="da-DK"/>
        </a:p>
      </dgm:t>
    </dgm:pt>
    <dgm:pt modelId="{098C3EF2-85A1-4976-8F2D-71EC6938C586}">
      <dgm:prSet custT="1"/>
      <dgm:spPr/>
      <dgm:t>
        <a:bodyPr/>
        <a:lstStyle/>
        <a:p>
          <a:r>
            <a:rPr lang="da-DK" sz="1100" u="none" dirty="0" smtClean="0"/>
            <a:t>NATO KUR</a:t>
          </a:r>
          <a:endParaRPr lang="da-DK" sz="1100" dirty="0"/>
        </a:p>
      </dgm:t>
    </dgm:pt>
    <dgm:pt modelId="{A983315E-C933-424E-BA86-F260E2D8308E}" type="parTrans" cxnId="{E1D55C7F-3251-4060-B0E9-133B104AB1A1}">
      <dgm:prSet/>
      <dgm:spPr/>
      <dgm:t>
        <a:bodyPr/>
        <a:lstStyle/>
        <a:p>
          <a:endParaRPr lang="da-DK"/>
        </a:p>
      </dgm:t>
    </dgm:pt>
    <dgm:pt modelId="{C860949A-12C1-42F0-B63D-DD65AD9235CE}" type="sibTrans" cxnId="{E1D55C7F-3251-4060-B0E9-133B104AB1A1}">
      <dgm:prSet/>
      <dgm:spPr/>
      <dgm:t>
        <a:bodyPr/>
        <a:lstStyle/>
        <a:p>
          <a:endParaRPr lang="da-DK"/>
        </a:p>
      </dgm:t>
    </dgm:pt>
    <dgm:pt modelId="{25A4F657-092F-4036-94AF-5793CB4606E7}">
      <dgm:prSet custT="1"/>
      <dgm:spPr/>
      <dgm:t>
        <a:bodyPr/>
        <a:lstStyle/>
        <a:p>
          <a:r>
            <a:rPr lang="da-DK" sz="1100" dirty="0" smtClean="0"/>
            <a:t>CT UDD</a:t>
          </a:r>
        </a:p>
      </dgm:t>
    </dgm:pt>
    <dgm:pt modelId="{FFBACCC3-693B-4F66-96E6-AAFAEF718BFF}" type="parTrans" cxnId="{96374C47-2375-47B4-AE1C-AA8471E65A22}">
      <dgm:prSet/>
      <dgm:spPr/>
      <dgm:t>
        <a:bodyPr/>
        <a:lstStyle/>
        <a:p>
          <a:endParaRPr lang="da-DK"/>
        </a:p>
      </dgm:t>
    </dgm:pt>
    <dgm:pt modelId="{C93BA523-DC3B-43A9-BED6-55FB68AE7845}" type="sibTrans" cxnId="{96374C47-2375-47B4-AE1C-AA8471E65A22}">
      <dgm:prSet/>
      <dgm:spPr/>
      <dgm:t>
        <a:bodyPr/>
        <a:lstStyle/>
        <a:p>
          <a:endParaRPr lang="da-DK"/>
        </a:p>
      </dgm:t>
    </dgm:pt>
    <dgm:pt modelId="{0441ADB8-506F-44BE-984F-1B432065574A}">
      <dgm:prSet phldrT="[Tekst]" custT="1"/>
      <dgm:spPr/>
      <dgm:t>
        <a:bodyPr/>
        <a:lstStyle/>
        <a:p>
          <a:pPr algn="l"/>
          <a:r>
            <a:rPr lang="da-DK" sz="1100" u="sng" dirty="0" smtClean="0"/>
            <a:t>Føring</a:t>
          </a:r>
          <a:endParaRPr lang="da-DK" sz="1100" u="sng" dirty="0"/>
        </a:p>
      </dgm:t>
    </dgm:pt>
    <dgm:pt modelId="{52FC6422-8CDB-4552-B434-22C90A11A026}" type="parTrans" cxnId="{09F8D4C2-CE8E-43A1-B9D6-EB1314097A26}">
      <dgm:prSet/>
      <dgm:spPr/>
      <dgm:t>
        <a:bodyPr/>
        <a:lstStyle/>
        <a:p>
          <a:endParaRPr lang="da-DK"/>
        </a:p>
      </dgm:t>
    </dgm:pt>
    <dgm:pt modelId="{A92B97FC-73BA-4A45-BE8C-12C8825E4464}" type="sibTrans" cxnId="{09F8D4C2-CE8E-43A1-B9D6-EB1314097A26}">
      <dgm:prSet/>
      <dgm:spPr/>
      <dgm:t>
        <a:bodyPr/>
        <a:lstStyle/>
        <a:p>
          <a:endParaRPr lang="da-DK"/>
        </a:p>
      </dgm:t>
    </dgm:pt>
    <dgm:pt modelId="{89DC0469-FF1B-4FAC-A926-95EC8B163908}">
      <dgm:prSet phldrT="[Tekst]" custT="1"/>
      <dgm:spPr/>
      <dgm:t>
        <a:bodyPr/>
        <a:lstStyle/>
        <a:p>
          <a:pPr algn="l"/>
          <a:r>
            <a:rPr lang="da-DK" sz="1100" u="sng" dirty="0" smtClean="0"/>
            <a:t>Ledelse</a:t>
          </a:r>
          <a:endParaRPr lang="da-DK" sz="1100" u="sng" dirty="0"/>
        </a:p>
      </dgm:t>
    </dgm:pt>
    <dgm:pt modelId="{29D4572C-41B5-4C03-A925-650E758756B5}" type="parTrans" cxnId="{FC5719D6-5F13-477F-9B84-AC7F4D5388AB}">
      <dgm:prSet/>
      <dgm:spPr/>
      <dgm:t>
        <a:bodyPr/>
        <a:lstStyle/>
        <a:p>
          <a:endParaRPr lang="da-DK"/>
        </a:p>
      </dgm:t>
    </dgm:pt>
    <dgm:pt modelId="{9FA04664-747D-4249-92CE-61E838EB6FDA}" type="sibTrans" cxnId="{FC5719D6-5F13-477F-9B84-AC7F4D5388AB}">
      <dgm:prSet/>
      <dgm:spPr/>
      <dgm:t>
        <a:bodyPr/>
        <a:lstStyle/>
        <a:p>
          <a:endParaRPr lang="da-DK"/>
        </a:p>
      </dgm:t>
    </dgm:pt>
    <dgm:pt modelId="{9C9A146F-E245-41A6-AAF1-AE2D6F21A779}">
      <dgm:prSet phldrT="[Tekst]" custT="1"/>
      <dgm:spPr/>
      <dgm:t>
        <a:bodyPr/>
        <a:lstStyle/>
        <a:p>
          <a:pPr algn="l"/>
          <a:r>
            <a:rPr lang="da-DK" sz="1100" u="sng" dirty="0" smtClean="0"/>
            <a:t>Uddannelse</a:t>
          </a:r>
          <a:endParaRPr lang="da-DK" sz="1100" u="sng" dirty="0"/>
        </a:p>
      </dgm:t>
    </dgm:pt>
    <dgm:pt modelId="{F3B809F1-8064-4098-B585-271001B5D690}" type="parTrans" cxnId="{1C05FC75-3288-4502-B9D0-6578A67BEA6C}">
      <dgm:prSet/>
      <dgm:spPr/>
      <dgm:t>
        <a:bodyPr/>
        <a:lstStyle/>
        <a:p>
          <a:endParaRPr lang="da-DK"/>
        </a:p>
      </dgm:t>
    </dgm:pt>
    <dgm:pt modelId="{1CD2FC81-83AB-4E2C-91F9-C39FF5D4537C}" type="sibTrans" cxnId="{1C05FC75-3288-4502-B9D0-6578A67BEA6C}">
      <dgm:prSet/>
      <dgm:spPr/>
      <dgm:t>
        <a:bodyPr/>
        <a:lstStyle/>
        <a:p>
          <a:endParaRPr lang="da-DK"/>
        </a:p>
      </dgm:t>
    </dgm:pt>
    <dgm:pt modelId="{6D93A495-6BB7-4143-9254-9282478C6555}">
      <dgm:prSet phldrT="[Tekst]" custT="1"/>
      <dgm:spPr/>
      <dgm:t>
        <a:bodyPr/>
        <a:lstStyle/>
        <a:p>
          <a:pPr algn="l"/>
          <a:r>
            <a:rPr lang="da-DK" sz="1100" u="none" dirty="0" smtClean="0"/>
            <a:t>KMP </a:t>
          </a:r>
          <a:r>
            <a:rPr lang="da-DK" sz="1100" u="none" dirty="0" smtClean="0">
              <a:sym typeface="Wingdings" panose="05000000000000000000" pitchFamily="2" charset="2"/>
            </a:rPr>
            <a:t>Krise/krig</a:t>
          </a:r>
          <a:endParaRPr lang="da-DK" sz="1100" u="none" dirty="0"/>
        </a:p>
      </dgm:t>
    </dgm:pt>
    <dgm:pt modelId="{85DBC4BD-786C-4881-B14C-DC39ADE39E6F}" type="parTrans" cxnId="{4D4E9315-CD10-440E-A8AD-4D6F3C80C7C5}">
      <dgm:prSet/>
      <dgm:spPr/>
      <dgm:t>
        <a:bodyPr/>
        <a:lstStyle/>
        <a:p>
          <a:endParaRPr lang="da-DK"/>
        </a:p>
      </dgm:t>
    </dgm:pt>
    <dgm:pt modelId="{212AA880-0C7F-4904-B587-41D2637AC975}" type="sibTrans" cxnId="{4D4E9315-CD10-440E-A8AD-4D6F3C80C7C5}">
      <dgm:prSet/>
      <dgm:spPr/>
      <dgm:t>
        <a:bodyPr/>
        <a:lstStyle/>
        <a:p>
          <a:endParaRPr lang="da-DK"/>
        </a:p>
      </dgm:t>
    </dgm:pt>
    <dgm:pt modelId="{4EC1CB67-17A7-4934-9A72-6567BE5AE5F9}">
      <dgm:prSet phldrT="[Tekst]" custT="1"/>
      <dgm:spPr/>
      <dgm:t>
        <a:bodyPr/>
        <a:lstStyle/>
        <a:p>
          <a:pPr algn="l"/>
          <a:r>
            <a:rPr lang="da-DK" sz="1100" u="none" dirty="0" smtClean="0"/>
            <a:t>Ledelsesgrundlag o rammen af KMP</a:t>
          </a:r>
          <a:endParaRPr lang="da-DK" sz="1100" u="none" dirty="0"/>
        </a:p>
      </dgm:t>
    </dgm:pt>
    <dgm:pt modelId="{21100385-A4DF-4C8C-B3CF-B90B4B247726}" type="parTrans" cxnId="{C63C0070-C982-4C75-B3E6-660854215D07}">
      <dgm:prSet/>
      <dgm:spPr/>
      <dgm:t>
        <a:bodyPr/>
        <a:lstStyle/>
        <a:p>
          <a:endParaRPr lang="da-DK"/>
        </a:p>
      </dgm:t>
    </dgm:pt>
    <dgm:pt modelId="{16601636-B7A9-4EEB-B1CB-B9C63B8CB19E}" type="sibTrans" cxnId="{C63C0070-C982-4C75-B3E6-660854215D07}">
      <dgm:prSet/>
      <dgm:spPr/>
      <dgm:t>
        <a:bodyPr/>
        <a:lstStyle/>
        <a:p>
          <a:endParaRPr lang="da-DK"/>
        </a:p>
      </dgm:t>
    </dgm:pt>
    <dgm:pt modelId="{64527FB9-44F0-4585-9B08-FE896F421C2A}">
      <dgm:prSet phldrT="[Tekst]" custT="1"/>
      <dgm:spPr/>
      <dgm:t>
        <a:bodyPr/>
        <a:lstStyle/>
        <a:p>
          <a:pPr algn="l"/>
          <a:r>
            <a:rPr lang="da-DK" sz="1100" u="none" dirty="0" smtClean="0"/>
            <a:t>Specialisering</a:t>
          </a:r>
          <a:endParaRPr lang="da-DK" sz="1100" u="none" dirty="0"/>
        </a:p>
      </dgm:t>
    </dgm:pt>
    <dgm:pt modelId="{D00FC479-958C-469A-837B-6D1B839B8422}" type="parTrans" cxnId="{82AFFA8A-EC2B-43BA-A389-AD1C9A62D2C9}">
      <dgm:prSet/>
      <dgm:spPr/>
      <dgm:t>
        <a:bodyPr/>
        <a:lstStyle/>
        <a:p>
          <a:endParaRPr lang="da-DK"/>
        </a:p>
      </dgm:t>
    </dgm:pt>
    <dgm:pt modelId="{631F96C7-FBCB-4087-B703-4CD9727513F3}" type="sibTrans" cxnId="{82AFFA8A-EC2B-43BA-A389-AD1C9A62D2C9}">
      <dgm:prSet/>
      <dgm:spPr/>
      <dgm:t>
        <a:bodyPr/>
        <a:lstStyle/>
        <a:p>
          <a:endParaRPr lang="da-DK"/>
        </a:p>
      </dgm:t>
    </dgm:pt>
    <dgm:pt modelId="{C46FDCF1-4567-4B3D-A8AF-164B436BFD87}">
      <dgm:prSet phldrT="[Tekst]" custT="1"/>
      <dgm:spPr/>
      <dgm:t>
        <a:bodyPr/>
        <a:lstStyle/>
        <a:p>
          <a:pPr algn="l"/>
          <a:r>
            <a:rPr lang="da-DK" sz="1100" u="none" dirty="0" smtClean="0"/>
            <a:t>MAU</a:t>
          </a:r>
          <a:endParaRPr lang="da-DK" sz="1100" u="none" dirty="0"/>
        </a:p>
      </dgm:t>
    </dgm:pt>
    <dgm:pt modelId="{DDFF8A45-6189-4862-9898-208024006BA2}" type="parTrans" cxnId="{F7499F37-48C5-4F79-AAF5-285C8351993B}">
      <dgm:prSet/>
      <dgm:spPr/>
      <dgm:t>
        <a:bodyPr/>
        <a:lstStyle/>
        <a:p>
          <a:endParaRPr lang="da-DK"/>
        </a:p>
      </dgm:t>
    </dgm:pt>
    <dgm:pt modelId="{F66B7FE6-D674-4957-AB1E-356725EED13D}" type="sibTrans" cxnId="{F7499F37-48C5-4F79-AAF5-285C8351993B}">
      <dgm:prSet/>
      <dgm:spPr/>
      <dgm:t>
        <a:bodyPr/>
        <a:lstStyle/>
        <a:p>
          <a:endParaRPr lang="da-DK"/>
        </a:p>
      </dgm:t>
    </dgm:pt>
    <dgm:pt modelId="{A919325A-E2C5-462A-A199-F3BE26F5D32A}">
      <dgm:prSet phldrT="[Tekst]" custT="1"/>
      <dgm:spPr/>
      <dgm:t>
        <a:bodyPr/>
        <a:lstStyle/>
        <a:p>
          <a:pPr algn="l"/>
          <a:r>
            <a:rPr lang="da-DK" sz="1100" u="none" dirty="0" smtClean="0"/>
            <a:t>CT UDD</a:t>
          </a:r>
          <a:endParaRPr lang="da-DK" sz="1100" u="none" dirty="0"/>
        </a:p>
      </dgm:t>
    </dgm:pt>
    <dgm:pt modelId="{2F40F05C-0120-45FA-B2ED-267D7B0FA6BA}" type="parTrans" cxnId="{F0CAD3A4-72CE-492A-B1F9-C5AEC7FDFF48}">
      <dgm:prSet/>
      <dgm:spPr/>
      <dgm:t>
        <a:bodyPr/>
        <a:lstStyle/>
        <a:p>
          <a:endParaRPr lang="da-DK"/>
        </a:p>
      </dgm:t>
    </dgm:pt>
    <dgm:pt modelId="{76BF6EA6-DFB1-4807-8BDB-3C0AA3D69380}" type="sibTrans" cxnId="{F0CAD3A4-72CE-492A-B1F9-C5AEC7FDFF48}">
      <dgm:prSet/>
      <dgm:spPr/>
      <dgm:t>
        <a:bodyPr/>
        <a:lstStyle/>
        <a:p>
          <a:endParaRPr lang="da-DK"/>
        </a:p>
      </dgm:t>
    </dgm:pt>
    <dgm:pt modelId="{2F43BC38-B7E5-451C-A815-04E512019DB3}">
      <dgm:prSet phldrT="[Tekst]" custT="1"/>
      <dgm:spPr/>
      <dgm:t>
        <a:bodyPr/>
        <a:lstStyle/>
        <a:p>
          <a:pPr algn="l"/>
          <a:r>
            <a:rPr lang="da-DK" sz="1100" u="none" dirty="0" smtClean="0"/>
            <a:t>NATO KUR</a:t>
          </a:r>
          <a:endParaRPr lang="da-DK" sz="1100" u="none" dirty="0"/>
        </a:p>
      </dgm:t>
    </dgm:pt>
    <dgm:pt modelId="{F5A490B3-5C34-4A70-BF01-6C88241163CF}" type="parTrans" cxnId="{00402957-E640-47DC-97DC-F2E21145B075}">
      <dgm:prSet/>
      <dgm:spPr/>
      <dgm:t>
        <a:bodyPr/>
        <a:lstStyle/>
        <a:p>
          <a:endParaRPr lang="da-DK"/>
        </a:p>
      </dgm:t>
    </dgm:pt>
    <dgm:pt modelId="{58B62232-2BA6-45AD-8509-0E02E018B6BF}" type="sibTrans" cxnId="{00402957-E640-47DC-97DC-F2E21145B075}">
      <dgm:prSet/>
      <dgm:spPr/>
      <dgm:t>
        <a:bodyPr/>
        <a:lstStyle/>
        <a:p>
          <a:endParaRPr lang="da-DK"/>
        </a:p>
      </dgm:t>
    </dgm:pt>
    <dgm:pt modelId="{E3C72AA5-B3C6-4E83-8A81-08EA640D3E7F}">
      <dgm:prSet phldrT="[Tekst]" custT="1"/>
      <dgm:spPr/>
      <dgm:t>
        <a:bodyPr/>
        <a:lstStyle/>
        <a:p>
          <a:pPr algn="l"/>
          <a:r>
            <a:rPr lang="da-DK" sz="1100" u="none" dirty="0" smtClean="0"/>
            <a:t>HIK</a:t>
          </a:r>
          <a:endParaRPr lang="da-DK" sz="1100" u="none" dirty="0"/>
        </a:p>
      </dgm:t>
    </dgm:pt>
    <dgm:pt modelId="{8F5DBF40-A5F5-4364-9A8F-83E8AEA1E646}" type="parTrans" cxnId="{EB1BF477-BA0C-44A3-A039-C4D82E22F838}">
      <dgm:prSet/>
      <dgm:spPr/>
      <dgm:t>
        <a:bodyPr/>
        <a:lstStyle/>
        <a:p>
          <a:endParaRPr lang="da-DK"/>
        </a:p>
      </dgm:t>
    </dgm:pt>
    <dgm:pt modelId="{900AC25D-C387-433E-9DB7-C30155E723B7}" type="sibTrans" cxnId="{EB1BF477-BA0C-44A3-A039-C4D82E22F838}">
      <dgm:prSet/>
      <dgm:spPr/>
      <dgm:t>
        <a:bodyPr/>
        <a:lstStyle/>
        <a:p>
          <a:endParaRPr lang="da-DK"/>
        </a:p>
      </dgm:t>
    </dgm:pt>
    <dgm:pt modelId="{3F4ECFE2-0AD9-438F-AA16-8A7531673F41}">
      <dgm:prSet phldrT="[Tekst]" custT="1"/>
      <dgm:spPr/>
      <dgm:t>
        <a:bodyPr/>
        <a:lstStyle/>
        <a:p>
          <a:pPr algn="l"/>
          <a:r>
            <a:rPr lang="da-DK" sz="1100" u="none" dirty="0" smtClean="0"/>
            <a:t>LIO</a:t>
          </a:r>
          <a:endParaRPr lang="da-DK" sz="1100" u="none" dirty="0"/>
        </a:p>
      </dgm:t>
    </dgm:pt>
    <dgm:pt modelId="{35435D37-1CC5-47A5-BAD4-3DEBDBBCE515}" type="parTrans" cxnId="{890FE6C0-23E8-491E-874D-C2F40B3AEEAD}">
      <dgm:prSet/>
      <dgm:spPr/>
      <dgm:t>
        <a:bodyPr/>
        <a:lstStyle/>
        <a:p>
          <a:endParaRPr lang="da-DK"/>
        </a:p>
      </dgm:t>
    </dgm:pt>
    <dgm:pt modelId="{ADC252B3-B954-4882-8BEF-7CD0BEB682BA}" type="sibTrans" cxnId="{890FE6C0-23E8-491E-874D-C2F40B3AEEAD}">
      <dgm:prSet/>
      <dgm:spPr/>
      <dgm:t>
        <a:bodyPr/>
        <a:lstStyle/>
        <a:p>
          <a:endParaRPr lang="da-DK"/>
        </a:p>
      </dgm:t>
    </dgm:pt>
    <dgm:pt modelId="{93A13F06-511A-42B6-96A9-0EDC9E245A8B}">
      <dgm:prSet phldrT="[Tekst]" custT="1"/>
      <dgm:spPr/>
      <dgm:t>
        <a:bodyPr/>
        <a:lstStyle/>
        <a:p>
          <a:pPr algn="l"/>
          <a:r>
            <a:rPr lang="da-DK" sz="1100" u="none" dirty="0" smtClean="0"/>
            <a:t>GSU/STP</a:t>
          </a:r>
          <a:endParaRPr lang="da-DK" sz="1100" u="none" dirty="0"/>
        </a:p>
      </dgm:t>
    </dgm:pt>
    <dgm:pt modelId="{2097D9E7-F015-4922-A53B-B8E3266A974C}" type="parTrans" cxnId="{DC473A1E-C590-4AD2-847E-5F52E5F429A4}">
      <dgm:prSet/>
      <dgm:spPr/>
      <dgm:t>
        <a:bodyPr/>
        <a:lstStyle/>
        <a:p>
          <a:endParaRPr lang="da-DK"/>
        </a:p>
      </dgm:t>
    </dgm:pt>
    <dgm:pt modelId="{F57FCC4A-90DB-4BCC-B542-EDC28491263F}" type="sibTrans" cxnId="{DC473A1E-C590-4AD2-847E-5F52E5F429A4}">
      <dgm:prSet/>
      <dgm:spPr/>
      <dgm:t>
        <a:bodyPr/>
        <a:lstStyle/>
        <a:p>
          <a:endParaRPr lang="da-DK"/>
        </a:p>
      </dgm:t>
    </dgm:pt>
    <dgm:pt modelId="{6DDD1FAD-C287-420D-A12F-042600887B4A}">
      <dgm:prSet phldrT="[Tekst]" custT="1"/>
      <dgm:spPr/>
      <dgm:t>
        <a:bodyPr/>
        <a:lstStyle/>
        <a:p>
          <a:pPr algn="l"/>
          <a:r>
            <a:rPr lang="da-DK" sz="1100" u="none" dirty="0" smtClean="0"/>
            <a:t>NATO KUR</a:t>
          </a:r>
          <a:endParaRPr lang="da-DK" sz="1100" u="none" dirty="0"/>
        </a:p>
      </dgm:t>
    </dgm:pt>
    <dgm:pt modelId="{A53DA8E6-A051-4F85-AAD5-E04C629C1576}" type="parTrans" cxnId="{62B2AEA9-187C-4182-8A6B-DFD8B2FB763D}">
      <dgm:prSet/>
      <dgm:spPr/>
      <dgm:t>
        <a:bodyPr/>
        <a:lstStyle/>
        <a:p>
          <a:endParaRPr lang="da-DK"/>
        </a:p>
      </dgm:t>
    </dgm:pt>
    <dgm:pt modelId="{7B8485BE-DA60-41C9-9C0E-E77DEE9FA0ED}" type="sibTrans" cxnId="{62B2AEA9-187C-4182-8A6B-DFD8B2FB763D}">
      <dgm:prSet/>
      <dgm:spPr/>
      <dgm:t>
        <a:bodyPr/>
        <a:lstStyle/>
        <a:p>
          <a:endParaRPr lang="da-DK"/>
        </a:p>
      </dgm:t>
    </dgm:pt>
    <dgm:pt modelId="{3F5FBC42-9F86-4057-8375-EC991A74C938}">
      <dgm:prSet phldrT="[Tekst]" custT="1"/>
      <dgm:spPr/>
      <dgm:t>
        <a:bodyPr/>
        <a:lstStyle/>
        <a:p>
          <a:pPr algn="l"/>
          <a:endParaRPr lang="da-DK" sz="1100" u="none" dirty="0"/>
        </a:p>
      </dgm:t>
    </dgm:pt>
    <dgm:pt modelId="{A52CB7C5-6170-4238-98F8-BF77FEE65A3D}" type="parTrans" cxnId="{BB84D4F1-CF66-43E6-9AF4-15A79A60931D}">
      <dgm:prSet/>
      <dgm:spPr/>
      <dgm:t>
        <a:bodyPr/>
        <a:lstStyle/>
        <a:p>
          <a:endParaRPr lang="da-DK"/>
        </a:p>
      </dgm:t>
    </dgm:pt>
    <dgm:pt modelId="{F38FF187-324F-422F-A460-69DC7DF21FBF}" type="sibTrans" cxnId="{BB84D4F1-CF66-43E6-9AF4-15A79A60931D}">
      <dgm:prSet/>
      <dgm:spPr/>
      <dgm:t>
        <a:bodyPr/>
        <a:lstStyle/>
        <a:p>
          <a:endParaRPr lang="da-DK"/>
        </a:p>
      </dgm:t>
    </dgm:pt>
    <dgm:pt modelId="{02EFE62A-3053-4C0A-94E2-F106307C8C04}" type="pres">
      <dgm:prSet presAssocID="{55C6902B-117B-406D-B1BB-A2BC3E1C7443}" presName="Name0" presStyleCnt="0">
        <dgm:presLayoutVars>
          <dgm:dir/>
          <dgm:resizeHandles val="exact"/>
        </dgm:presLayoutVars>
      </dgm:prSet>
      <dgm:spPr/>
    </dgm:pt>
    <dgm:pt modelId="{712F5380-8935-4253-98B7-827781CCAAB4}" type="pres">
      <dgm:prSet presAssocID="{55C6902B-117B-406D-B1BB-A2BC3E1C7443}" presName="bkgdShp" presStyleLbl="alignAccFollowNode1" presStyleIdx="0" presStyleCnt="1"/>
      <dgm:spPr/>
    </dgm:pt>
    <dgm:pt modelId="{0744DEB5-A4BE-4342-AE68-78627AB5EE97}" type="pres">
      <dgm:prSet presAssocID="{55C6902B-117B-406D-B1BB-A2BC3E1C7443}" presName="linComp" presStyleCnt="0"/>
      <dgm:spPr/>
    </dgm:pt>
    <dgm:pt modelId="{6E66C84C-5EF4-40E6-A601-F0C92FAC0BC7}" type="pres">
      <dgm:prSet presAssocID="{BDCCEC16-E555-4370-B34D-5442F320E573}" presName="compNode" presStyleCnt="0"/>
      <dgm:spPr/>
    </dgm:pt>
    <dgm:pt modelId="{52B6F5A3-B6ED-4CD1-9C32-CD5213C6CF52}" type="pres">
      <dgm:prSet presAssocID="{BDCCEC16-E555-4370-B34D-5442F320E573}" presName="node" presStyleLbl="node1" presStyleIdx="0" presStyleCnt="4">
        <dgm:presLayoutVars>
          <dgm:bulletEnabled val="1"/>
        </dgm:presLayoutVars>
      </dgm:prSet>
      <dgm:spPr/>
      <dgm:t>
        <a:bodyPr/>
        <a:lstStyle/>
        <a:p>
          <a:endParaRPr lang="da-DK"/>
        </a:p>
      </dgm:t>
    </dgm:pt>
    <dgm:pt modelId="{A7B51519-6305-48BF-B9E8-EE7E8EEAB0D0}" type="pres">
      <dgm:prSet presAssocID="{BDCCEC16-E555-4370-B34D-5442F320E573}" presName="invisiNode" presStyleLbl="node1" presStyleIdx="0" presStyleCnt="4"/>
      <dgm:spPr/>
    </dgm:pt>
    <dgm:pt modelId="{004663AB-3284-4718-A01C-E5540C9C185B}" type="pres">
      <dgm:prSet presAssocID="{BDCCEC16-E555-4370-B34D-5442F320E573}" presName="imagNode" presStyleLbl="fgImgPlace1" presStyleIdx="0" presStyleCnt="4"/>
      <dgm:spPr>
        <a:blipFill rotWithShape="1">
          <a:blip xmlns:r="http://schemas.openxmlformats.org/officeDocument/2006/relationships" r:embed="rId1"/>
          <a:stretch>
            <a:fillRect/>
          </a:stretch>
        </a:blipFill>
      </dgm:spPr>
    </dgm:pt>
    <dgm:pt modelId="{B04D4151-F14D-4D25-B22F-A48867F039EB}" type="pres">
      <dgm:prSet presAssocID="{98852CBE-5715-466B-AD8F-E12ACF097BE1}" presName="sibTrans" presStyleLbl="sibTrans2D1" presStyleIdx="0" presStyleCnt="0"/>
      <dgm:spPr/>
      <dgm:t>
        <a:bodyPr/>
        <a:lstStyle/>
        <a:p>
          <a:endParaRPr lang="da-DK"/>
        </a:p>
      </dgm:t>
    </dgm:pt>
    <dgm:pt modelId="{09ED19F8-54A8-4133-9B6B-5BCE744B0C20}" type="pres">
      <dgm:prSet presAssocID="{54F7B543-6981-4C3B-9321-57174ECCB5D4}" presName="compNode" presStyleCnt="0"/>
      <dgm:spPr/>
    </dgm:pt>
    <dgm:pt modelId="{2C6D7BD5-A1F2-482B-BE8E-F42EC77518A9}" type="pres">
      <dgm:prSet presAssocID="{54F7B543-6981-4C3B-9321-57174ECCB5D4}" presName="node" presStyleLbl="node1" presStyleIdx="1" presStyleCnt="4">
        <dgm:presLayoutVars>
          <dgm:bulletEnabled val="1"/>
        </dgm:presLayoutVars>
      </dgm:prSet>
      <dgm:spPr/>
      <dgm:t>
        <a:bodyPr/>
        <a:lstStyle/>
        <a:p>
          <a:endParaRPr lang="da-DK"/>
        </a:p>
      </dgm:t>
    </dgm:pt>
    <dgm:pt modelId="{89A83B9E-D833-4372-B9A5-2D03FC94A0C7}" type="pres">
      <dgm:prSet presAssocID="{54F7B543-6981-4C3B-9321-57174ECCB5D4}" presName="invisiNode" presStyleLbl="node1" presStyleIdx="1" presStyleCnt="4"/>
      <dgm:spPr/>
    </dgm:pt>
    <dgm:pt modelId="{46293599-CD18-456C-B523-2643D9780D34}" type="pres">
      <dgm:prSet presAssocID="{54F7B543-6981-4C3B-9321-57174ECCB5D4}" presName="imagNode" presStyleLbl="fgImgPlace1" presStyleIdx="1" presStyleCnt="4"/>
      <dgm:spPr>
        <a:blipFill rotWithShape="1">
          <a:blip xmlns:r="http://schemas.openxmlformats.org/officeDocument/2006/relationships" r:embed="rId2"/>
          <a:stretch>
            <a:fillRect/>
          </a:stretch>
        </a:blipFill>
      </dgm:spPr>
    </dgm:pt>
    <dgm:pt modelId="{DF1178CB-CC63-4CE1-948E-EBC617215044}" type="pres">
      <dgm:prSet presAssocID="{4649C63C-93AB-4F9D-BC5D-3F96A02CEF40}" presName="sibTrans" presStyleLbl="sibTrans2D1" presStyleIdx="0" presStyleCnt="0"/>
      <dgm:spPr/>
      <dgm:t>
        <a:bodyPr/>
        <a:lstStyle/>
        <a:p>
          <a:endParaRPr lang="da-DK"/>
        </a:p>
      </dgm:t>
    </dgm:pt>
    <dgm:pt modelId="{9FC48F0F-7201-4B3A-912A-3F7EC4499B21}" type="pres">
      <dgm:prSet presAssocID="{2DF5845F-E145-43F2-A171-DC10421FC9A3}" presName="compNode" presStyleCnt="0"/>
      <dgm:spPr/>
    </dgm:pt>
    <dgm:pt modelId="{8663C2DC-84AB-4BE7-9FA4-CD6B36392FCB}" type="pres">
      <dgm:prSet presAssocID="{2DF5845F-E145-43F2-A171-DC10421FC9A3}" presName="node" presStyleLbl="node1" presStyleIdx="2" presStyleCnt="4">
        <dgm:presLayoutVars>
          <dgm:bulletEnabled val="1"/>
        </dgm:presLayoutVars>
      </dgm:prSet>
      <dgm:spPr/>
      <dgm:t>
        <a:bodyPr/>
        <a:lstStyle/>
        <a:p>
          <a:endParaRPr lang="da-DK"/>
        </a:p>
      </dgm:t>
    </dgm:pt>
    <dgm:pt modelId="{72AC4CD8-9A7F-4E6E-88C6-6A9FE42A54BB}" type="pres">
      <dgm:prSet presAssocID="{2DF5845F-E145-43F2-A171-DC10421FC9A3}" presName="invisiNode" presStyleLbl="node1" presStyleIdx="2" presStyleCnt="4"/>
      <dgm:spPr/>
    </dgm:pt>
    <dgm:pt modelId="{82F78160-1442-452D-8541-31D68F328FFD}" type="pres">
      <dgm:prSet presAssocID="{2DF5845F-E145-43F2-A171-DC10421FC9A3}" presName="imagNode" presStyleLbl="fgImgPlace1" presStyleIdx="2" presStyleCnt="4"/>
      <dgm:spPr>
        <a:blipFill rotWithShape="1">
          <a:blip xmlns:r="http://schemas.openxmlformats.org/officeDocument/2006/relationships" r:embed="rId3"/>
          <a:stretch>
            <a:fillRect/>
          </a:stretch>
        </a:blipFill>
      </dgm:spPr>
    </dgm:pt>
    <dgm:pt modelId="{003319FC-B342-4F1F-A59B-C1AE22E17352}" type="pres">
      <dgm:prSet presAssocID="{EDD4BEE3-4CCE-4620-B6D6-B9CF0BD1A119}" presName="sibTrans" presStyleLbl="sibTrans2D1" presStyleIdx="0" presStyleCnt="0"/>
      <dgm:spPr/>
      <dgm:t>
        <a:bodyPr/>
        <a:lstStyle/>
        <a:p>
          <a:endParaRPr lang="da-DK"/>
        </a:p>
      </dgm:t>
    </dgm:pt>
    <dgm:pt modelId="{859ACEEC-942C-4C55-AA21-7048503883C5}" type="pres">
      <dgm:prSet presAssocID="{16E69697-452B-4937-B38E-A603C04687D8}" presName="compNode" presStyleCnt="0"/>
      <dgm:spPr/>
    </dgm:pt>
    <dgm:pt modelId="{E8C21E64-FADE-4ECC-8520-A2129043AC4B}" type="pres">
      <dgm:prSet presAssocID="{16E69697-452B-4937-B38E-A603C04687D8}" presName="node" presStyleLbl="node1" presStyleIdx="3" presStyleCnt="4">
        <dgm:presLayoutVars>
          <dgm:bulletEnabled val="1"/>
        </dgm:presLayoutVars>
      </dgm:prSet>
      <dgm:spPr/>
      <dgm:t>
        <a:bodyPr/>
        <a:lstStyle/>
        <a:p>
          <a:endParaRPr lang="da-DK"/>
        </a:p>
      </dgm:t>
    </dgm:pt>
    <dgm:pt modelId="{44935385-43AB-4D6E-A696-B4471EE3ED03}" type="pres">
      <dgm:prSet presAssocID="{16E69697-452B-4937-B38E-A603C04687D8}" presName="invisiNode" presStyleLbl="node1" presStyleIdx="3" presStyleCnt="4"/>
      <dgm:spPr/>
    </dgm:pt>
    <dgm:pt modelId="{98E929B9-8BAA-4422-90E7-ABE3057DD78E}" type="pres">
      <dgm:prSet presAssocID="{16E69697-452B-4937-B38E-A603C04687D8}" presName="imagNode" presStyleLbl="fgImgPlace1" presStyleIdx="3" presStyleCnt="4"/>
      <dgm:spPr>
        <a:blipFill rotWithShape="1">
          <a:blip xmlns:r="http://schemas.openxmlformats.org/officeDocument/2006/relationships" r:embed="rId4"/>
          <a:stretch>
            <a:fillRect/>
          </a:stretch>
        </a:blipFill>
      </dgm:spPr>
    </dgm:pt>
  </dgm:ptLst>
  <dgm:cxnLst>
    <dgm:cxn modelId="{1C05FC75-3288-4502-B9D0-6578A67BEA6C}" srcId="{2DF5845F-E145-43F2-A171-DC10421FC9A3}" destId="{9C9A146F-E245-41A6-AAF1-AE2D6F21A779}" srcOrd="2" destOrd="0" parTransId="{F3B809F1-8064-4098-B585-271001B5D690}" sibTransId="{1CD2FC81-83AB-4E2C-91F9-C39FF5D4537C}"/>
    <dgm:cxn modelId="{ACF3A747-1853-4981-9C19-D2487A589B03}" type="presOf" srcId="{18A820E3-4BCE-4670-BE27-C193C38E95DA}" destId="{E8C21E64-FADE-4ECC-8520-A2129043AC4B}" srcOrd="0" destOrd="8" presId="urn:microsoft.com/office/officeart/2005/8/layout/pList2"/>
    <dgm:cxn modelId="{38031386-EA65-4EDC-B132-2613A34CA35C}" type="presOf" srcId="{54F7B543-6981-4C3B-9321-57174ECCB5D4}" destId="{2C6D7BD5-A1F2-482B-BE8E-F42EC77518A9}" srcOrd="0" destOrd="0" presId="urn:microsoft.com/office/officeart/2005/8/layout/pList2"/>
    <dgm:cxn modelId="{61B6877F-5B88-4A53-A0DE-0D27EE9B2829}" type="presOf" srcId="{2DF5845F-E145-43F2-A171-DC10421FC9A3}" destId="{8663C2DC-84AB-4BE7-9FA4-CD6B36392FCB}" srcOrd="0" destOrd="0" presId="urn:microsoft.com/office/officeart/2005/8/layout/pList2"/>
    <dgm:cxn modelId="{4F7C7775-2F7C-4E72-B613-F2971BFF1A16}" type="presOf" srcId="{FC8A929F-3A33-42E2-B59F-C8F020D08D90}" destId="{E8C21E64-FADE-4ECC-8520-A2129043AC4B}" srcOrd="0" destOrd="9" presId="urn:microsoft.com/office/officeart/2005/8/layout/pList2"/>
    <dgm:cxn modelId="{FF0C49E1-FF05-4462-BBEB-5394EFDE2093}" type="presOf" srcId="{C46FDCF1-4567-4B3D-A8AF-164B436BFD87}" destId="{8663C2DC-84AB-4BE7-9FA4-CD6B36392FCB}" srcOrd="0" destOrd="8" presId="urn:microsoft.com/office/officeart/2005/8/layout/pList2"/>
    <dgm:cxn modelId="{FCF24B31-00F9-4027-ADA3-3F2AAB766425}" type="presOf" srcId="{640D3587-9577-4522-8432-B0497F466F4C}" destId="{E8C21E64-FADE-4ECC-8520-A2129043AC4B}" srcOrd="0" destOrd="4" presId="urn:microsoft.com/office/officeart/2005/8/layout/pList2"/>
    <dgm:cxn modelId="{2F1BC415-A8CE-477B-A70D-618FC71DB853}" type="presOf" srcId="{BDCCEC16-E555-4370-B34D-5442F320E573}" destId="{52B6F5A3-B6ED-4CD1-9C32-CD5213C6CF52}" srcOrd="0" destOrd="0" presId="urn:microsoft.com/office/officeart/2005/8/layout/pList2"/>
    <dgm:cxn modelId="{9D7E925D-B18F-4894-8F9E-778E81FF343A}" type="presOf" srcId="{58915889-04EE-443C-B608-15BF9BE5625C}" destId="{2C6D7BD5-A1F2-482B-BE8E-F42EC77518A9}" srcOrd="0" destOrd="7" presId="urn:microsoft.com/office/officeart/2005/8/layout/pList2"/>
    <dgm:cxn modelId="{18B72B45-0F18-4930-AD43-3B50BDEF0EFE}" type="presOf" srcId="{C463BEA7-C2FC-402B-85FE-56EEB9D0267C}" destId="{E8C21E64-FADE-4ECC-8520-A2129043AC4B}" srcOrd="0" destOrd="1" presId="urn:microsoft.com/office/officeart/2005/8/layout/pList2"/>
    <dgm:cxn modelId="{5361E9D9-0733-4240-A62B-A17A79A28C50}" type="presOf" srcId="{E71CB147-02D6-47A9-8E47-4A097A4AE10F}" destId="{2C6D7BD5-A1F2-482B-BE8E-F42EC77518A9}" srcOrd="0" destOrd="2" presId="urn:microsoft.com/office/officeart/2005/8/layout/pList2"/>
    <dgm:cxn modelId="{E24E8E10-672F-4E7A-A9F6-3BCFD347B9CC}" type="presOf" srcId="{25A4F657-092F-4036-94AF-5793CB4606E7}" destId="{E8C21E64-FADE-4ECC-8520-A2129043AC4B}" srcOrd="0" destOrd="5" presId="urn:microsoft.com/office/officeart/2005/8/layout/pList2"/>
    <dgm:cxn modelId="{AC0DC033-1516-4C60-A06D-E32AFEACF640}" srcId="{16E69697-452B-4937-B38E-A603C04687D8}" destId="{FC8A929F-3A33-42E2-B59F-C8F020D08D90}" srcOrd="8" destOrd="0" parTransId="{C1783CF4-408D-4BE7-A8FC-D4624C00C80E}" sibTransId="{641CE110-C7C5-490E-9384-2FC33AF62E59}"/>
    <dgm:cxn modelId="{AFCB0ED8-D2F2-4DBA-95A1-D1FBC7116FBD}" srcId="{C3F6C105-28AD-486E-A1DF-D63F663553AD}" destId="{DB590001-5093-4C97-B2C7-3038D8B07A19}" srcOrd="0" destOrd="0" parTransId="{47CB0603-43E0-4E4A-995D-64E9A68F2D5C}" sibTransId="{853EEB83-647D-4BF6-989F-DC55E0905F59}"/>
    <dgm:cxn modelId="{CAA6DDD8-11F8-4DED-83F4-E2786F39DA19}" srcId="{16E69697-452B-4937-B38E-A603C04687D8}" destId="{640D3587-9577-4522-8432-B0497F466F4C}" srcOrd="3" destOrd="0" parTransId="{F75BBFB0-6206-419A-BA42-2FAB6189CE7A}" sibTransId="{AB4DA07F-B7D7-449C-8ADD-481DA45614ED}"/>
    <dgm:cxn modelId="{90FAC5FD-66D3-42B6-9D04-F0944372B076}" type="presOf" srcId="{DB590001-5093-4C97-B2C7-3038D8B07A19}" destId="{52B6F5A3-B6ED-4CD1-9C32-CD5213C6CF52}" srcOrd="0" destOrd="6" presId="urn:microsoft.com/office/officeart/2005/8/layout/pList2"/>
    <dgm:cxn modelId="{F0CAD3A4-72CE-492A-B1F9-C5AEC7FDFF48}" srcId="{89DC0469-FF1B-4FAC-A926-95EC8B163908}" destId="{A919325A-E2C5-462A-A199-F3BE26F5D32A}" srcOrd="1" destOrd="0" parTransId="{2F40F05C-0120-45FA-B2ED-267D7B0FA6BA}" sibTransId="{76BF6EA6-DFB1-4807-8BDB-3C0AA3D69380}"/>
    <dgm:cxn modelId="{847AE0CA-1418-4124-B9DB-715DD5C2FA11}" type="presOf" srcId="{616CB614-7001-4B74-BA5A-9A9AFEA71649}" destId="{52B6F5A3-B6ED-4CD1-9C32-CD5213C6CF52}" srcOrd="0" destOrd="1" presId="urn:microsoft.com/office/officeart/2005/8/layout/pList2"/>
    <dgm:cxn modelId="{90B3B1EF-B786-4567-B33B-EDC2808C625A}" type="presOf" srcId="{16E69697-452B-4937-B38E-A603C04687D8}" destId="{E8C21E64-FADE-4ECC-8520-A2129043AC4B}" srcOrd="0" destOrd="0" presId="urn:microsoft.com/office/officeart/2005/8/layout/pList2"/>
    <dgm:cxn modelId="{C1218887-6921-4448-8C25-682C82E345E0}" srcId="{55C6902B-117B-406D-B1BB-A2BC3E1C7443}" destId="{16E69697-452B-4937-B38E-A603C04687D8}" srcOrd="3" destOrd="0" parTransId="{6A0EF079-E2BC-494A-AD99-8E4A6C9EE451}" sibTransId="{8495628B-B758-4878-8E1F-F7E1E3AFF3F7}"/>
    <dgm:cxn modelId="{A85A8DDE-2653-4FC0-A804-E9CA50B1002F}" type="presOf" srcId="{6D93A495-6BB7-4143-9254-9282478C6555}" destId="{8663C2DC-84AB-4BE7-9FA4-CD6B36392FCB}" srcOrd="0" destOrd="2" presId="urn:microsoft.com/office/officeart/2005/8/layout/pList2"/>
    <dgm:cxn modelId="{D3C2B127-AF40-4930-97F6-3B2AB5F0BE83}" type="presOf" srcId="{FC81402C-CF09-41EF-A621-DF4AC34DB796}" destId="{2C6D7BD5-A1F2-482B-BE8E-F42EC77518A9}" srcOrd="0" destOrd="3" presId="urn:microsoft.com/office/officeart/2005/8/layout/pList2"/>
    <dgm:cxn modelId="{F3C52A5D-A86D-4615-81CB-CFA23833B8A5}" type="presOf" srcId="{3F4ECFE2-0AD9-438F-AA16-8A7531673F41}" destId="{8663C2DC-84AB-4BE7-9FA4-CD6B36392FCB}" srcOrd="0" destOrd="10" presId="urn:microsoft.com/office/officeart/2005/8/layout/pList2"/>
    <dgm:cxn modelId="{5A4E030E-2015-469E-A31D-8A865F70BC7D}" srcId="{58915889-04EE-443C-B608-15BF9BE5625C}" destId="{3E357DCC-4152-4696-B602-7C9E31B1FBEE}" srcOrd="1" destOrd="0" parTransId="{F7B90A04-DA04-4028-B3AB-1978E02A23F5}" sibTransId="{39B1F9F9-FE04-496B-87A1-440AFC56820C}"/>
    <dgm:cxn modelId="{7C697779-B294-46BD-904D-E02670906785}" srcId="{3FC69CAD-E6CE-49C1-9853-A6518733D742}" destId="{7D42D557-3871-4643-AA33-CDC834252D3F}" srcOrd="0" destOrd="0" parTransId="{6847641F-42AA-424F-9938-DD64C350C592}" sibTransId="{1F441A91-60F2-4B63-9384-F5595790FECE}"/>
    <dgm:cxn modelId="{4EF1AA4E-66F3-45C8-BA6B-9661EC76D74A}" srcId="{16E69697-452B-4937-B38E-A603C04687D8}" destId="{18A820E3-4BCE-4670-BE27-C193C38E95DA}" srcOrd="7" destOrd="0" parTransId="{F514A5A7-60F3-4CA4-AFAE-E1BE5ACBAEA0}" sibTransId="{8F4BCCC3-802C-4910-A82A-C6AF365E8827}"/>
    <dgm:cxn modelId="{975F1EC2-99C0-4F33-B978-820763105B9D}" srcId="{16E69697-452B-4937-B38E-A603C04687D8}" destId="{BEF2B3A1-E00D-4B9C-8797-0B85C3E49941}" srcOrd="1" destOrd="0" parTransId="{32002A0C-B4BA-40D4-A75C-75047110DF12}" sibTransId="{E93D6EF1-0D9B-4E43-94DD-E00E0A495E4E}"/>
    <dgm:cxn modelId="{F7499F37-48C5-4F79-AAF5-285C8351993B}" srcId="{9C9A146F-E245-41A6-AAF1-AE2D6F21A779}" destId="{C46FDCF1-4567-4B3D-A8AF-164B436BFD87}" srcOrd="1" destOrd="0" parTransId="{DDFF8A45-6189-4862-9898-208024006BA2}" sibTransId="{F66B7FE6-D674-4957-AB1E-356725EED13D}"/>
    <dgm:cxn modelId="{C210DCD5-EE49-414E-BD88-AE95E8DD960B}" srcId="{C3F6C105-28AD-486E-A1DF-D63F663553AD}" destId="{7540EBED-EFBD-42E2-B6AB-A7E4B806BDB2}" srcOrd="2" destOrd="0" parTransId="{9EC2EB14-F658-4E49-80EB-31CBD240B78B}" sibTransId="{6394A65B-0E74-410F-A176-7C70540F3F66}"/>
    <dgm:cxn modelId="{180567CB-396E-44F1-B992-E3CB4A40A772}" srcId="{BDCCEC16-E555-4370-B34D-5442F320E573}" destId="{C5593735-1862-4093-86B8-DE3961E99AB2}" srcOrd="1" destOrd="0" parTransId="{B885E1C5-7F80-4C16-9446-D8FB941241C0}" sibTransId="{37039AB7-E0CE-4C36-80A8-67D649B0720D}"/>
    <dgm:cxn modelId="{82DCBBFD-7866-4912-8AD7-425E8E7B1DF1}" srcId="{3FC69CAD-E6CE-49C1-9853-A6518733D742}" destId="{58915889-04EE-443C-B608-15BF9BE5625C}" srcOrd="1" destOrd="0" parTransId="{CD130890-BE7E-42E8-9D3C-A75B9D2929E6}" sibTransId="{5DC6A5D9-197F-4C98-9D09-DFFC42E0C980}"/>
    <dgm:cxn modelId="{FC5719D6-5F13-477F-9B84-AC7F4D5388AB}" srcId="{2DF5845F-E145-43F2-A171-DC10421FC9A3}" destId="{89DC0469-FF1B-4FAC-A926-95EC8B163908}" srcOrd="1" destOrd="0" parTransId="{29D4572C-41B5-4C03-A925-650E758756B5}" sibTransId="{9FA04664-747D-4249-92CE-61E838EB6FDA}"/>
    <dgm:cxn modelId="{8DCC4D0C-EC60-4C7A-AEDF-8481B7A69604}" srcId="{C5593735-1862-4093-86B8-DE3961E99AB2}" destId="{65608C43-BAEA-4322-8DE8-15D64B1A515B}" srcOrd="0" destOrd="0" parTransId="{EFE6C41B-E302-4AA8-9F94-350ED72A481F}" sibTransId="{28EC4513-A62F-4052-B5FB-525857E3A519}"/>
    <dgm:cxn modelId="{DC473A1E-C590-4AD2-847E-5F52E5F429A4}" srcId="{C3F6C105-28AD-486E-A1DF-D63F663553AD}" destId="{93A13F06-511A-42B6-96A9-0EDC9E245A8B}" srcOrd="1" destOrd="0" parTransId="{2097D9E7-F015-4922-A53B-B8E3266A974C}" sibTransId="{F57FCC4A-90DB-4BCC-B542-EDC28491263F}"/>
    <dgm:cxn modelId="{0159A0F2-775D-423D-90BB-1E242D5C3CE9}" type="presOf" srcId="{64527FB9-44F0-4585-9B08-FE896F421C2A}" destId="{8663C2DC-84AB-4BE7-9FA4-CD6B36392FCB}" srcOrd="0" destOrd="7" presId="urn:microsoft.com/office/officeart/2005/8/layout/pList2"/>
    <dgm:cxn modelId="{4D4E9315-CD10-440E-A8AD-4D6F3C80C7C5}" srcId="{0441ADB8-506F-44BE-984F-1B432065574A}" destId="{6D93A495-6BB7-4143-9254-9282478C6555}" srcOrd="0" destOrd="0" parTransId="{85DBC4BD-786C-4881-B14C-DC39ADE39E6F}" sibTransId="{212AA880-0C7F-4904-B587-41D2637AC975}"/>
    <dgm:cxn modelId="{3F8F4F07-E6DC-481E-B84D-0E9FDB2CE803}" type="presOf" srcId="{EBCB2525-4071-4AE0-9139-D07F634F9937}" destId="{52B6F5A3-B6ED-4CD1-9C32-CD5213C6CF52}" srcOrd="0" destOrd="2" presId="urn:microsoft.com/office/officeart/2005/8/layout/pList2"/>
    <dgm:cxn modelId="{67329337-567D-4D31-A067-FACADF343185}" type="presOf" srcId="{7540EBED-EFBD-42E2-B6AB-A7E4B806BDB2}" destId="{52B6F5A3-B6ED-4CD1-9C32-CD5213C6CF52}" srcOrd="0" destOrd="8" presId="urn:microsoft.com/office/officeart/2005/8/layout/pList2"/>
    <dgm:cxn modelId="{09F8D4C2-CE8E-43A1-B9D6-EB1314097A26}" srcId="{2DF5845F-E145-43F2-A171-DC10421FC9A3}" destId="{0441ADB8-506F-44BE-984F-1B432065574A}" srcOrd="0" destOrd="0" parTransId="{52FC6422-8CDB-4552-B434-22C90A11A026}" sibTransId="{A92B97FC-73BA-4A45-BE8C-12C8825E4464}"/>
    <dgm:cxn modelId="{3A481BAC-30CD-4714-8ECC-F47CBF6F09D5}" srcId="{616CB614-7001-4B74-BA5A-9A9AFEA71649}" destId="{EBCB2525-4071-4AE0-9139-D07F634F9937}" srcOrd="0" destOrd="0" parTransId="{1EDE7A3E-257F-4A13-9060-3800376428BA}" sibTransId="{752EBA0B-69EA-4855-9808-ED787DF6BC8E}"/>
    <dgm:cxn modelId="{03058C8E-1A15-4EC1-8E23-8D3A4536ABE8}" srcId="{16E69697-452B-4937-B38E-A603C04687D8}" destId="{8D00209A-8093-4F5C-8E51-2A1F92A186FA}" srcOrd="2" destOrd="0" parTransId="{37B985CC-7BC3-4B48-A283-E06058F6694E}" sibTransId="{65D474AC-0ECA-4187-A6ED-510A4DE8022A}"/>
    <dgm:cxn modelId="{8BCA1B75-ECE9-41D3-BF40-251D729F348A}" type="presOf" srcId="{3FC69CAD-E6CE-49C1-9853-A6518733D742}" destId="{2C6D7BD5-A1F2-482B-BE8E-F42EC77518A9}" srcOrd="0" destOrd="5" presId="urn:microsoft.com/office/officeart/2005/8/layout/pList2"/>
    <dgm:cxn modelId="{1BFB9051-12B3-40BD-A67E-867F9ACE9551}" type="presOf" srcId="{89DC0469-FF1B-4FAC-A926-95EC8B163908}" destId="{8663C2DC-84AB-4BE7-9FA4-CD6B36392FCB}" srcOrd="0" destOrd="3" presId="urn:microsoft.com/office/officeart/2005/8/layout/pList2"/>
    <dgm:cxn modelId="{AEFC0EE0-8306-49D8-BC8C-85BAE5861498}" type="presOf" srcId="{C3F6C105-28AD-486E-A1DF-D63F663553AD}" destId="{52B6F5A3-B6ED-4CD1-9C32-CD5213C6CF52}" srcOrd="0" destOrd="5" presId="urn:microsoft.com/office/officeart/2005/8/layout/pList2"/>
    <dgm:cxn modelId="{9E780B56-ED74-4A79-AF72-B703468C8BC3}" type="presOf" srcId="{3F5FBC42-9F86-4057-8375-EC991A74C938}" destId="{2C6D7BD5-A1F2-482B-BE8E-F42EC77518A9}" srcOrd="0" destOrd="10" presId="urn:microsoft.com/office/officeart/2005/8/layout/pList2"/>
    <dgm:cxn modelId="{9FBAAFC0-8D9F-4A81-A0E1-25633C4522A4}" srcId="{55C6902B-117B-406D-B1BB-A2BC3E1C7443}" destId="{BDCCEC16-E555-4370-B34D-5442F320E573}" srcOrd="0" destOrd="0" parTransId="{F93529C7-5C1B-4543-B88D-8ECCE999692B}" sibTransId="{98852CBE-5715-466B-AD8F-E12ACF097BE1}"/>
    <dgm:cxn modelId="{E1D55C7F-3251-4060-B0E9-133B104AB1A1}" srcId="{16E69697-452B-4937-B38E-A603C04687D8}" destId="{098C3EF2-85A1-4976-8F2D-71EC6938C586}" srcOrd="9" destOrd="0" parTransId="{A983315E-C933-424E-BA86-F260E2D8308E}" sibTransId="{C860949A-12C1-42F0-B63D-DD65AD9235CE}"/>
    <dgm:cxn modelId="{620C8ED3-3007-4E7A-B998-C0D3036385D5}" type="presOf" srcId="{74FA0E9D-45D5-4B5F-A9E4-12C5FFC3C7B5}" destId="{2C6D7BD5-A1F2-482B-BE8E-F42EC77518A9}" srcOrd="0" destOrd="1" presId="urn:microsoft.com/office/officeart/2005/8/layout/pList2"/>
    <dgm:cxn modelId="{7AAB917E-F0BD-467D-AB05-46459DA7449C}" type="presOf" srcId="{BB2D715F-0DD4-4211-8F36-8E75FADCA7C1}" destId="{2C6D7BD5-A1F2-482B-BE8E-F42EC77518A9}" srcOrd="0" destOrd="8" presId="urn:microsoft.com/office/officeart/2005/8/layout/pList2"/>
    <dgm:cxn modelId="{20B0AFA2-59BA-49E3-86CF-0676BA623CFE}" type="presOf" srcId="{65608C43-BAEA-4322-8DE8-15D64B1A515B}" destId="{52B6F5A3-B6ED-4CD1-9C32-CD5213C6CF52}" srcOrd="0" destOrd="4" presId="urn:microsoft.com/office/officeart/2005/8/layout/pList2"/>
    <dgm:cxn modelId="{83C48663-5885-41A2-8CBA-23FD43DDD45B}" srcId="{BDCCEC16-E555-4370-B34D-5442F320E573}" destId="{616CB614-7001-4B74-BA5A-9A9AFEA71649}" srcOrd="0" destOrd="0" parTransId="{F3711F94-4901-4E2A-90CA-AFB3CC79E8F4}" sibTransId="{396E570A-DBAE-446A-A338-CAD39ADF0B69}"/>
    <dgm:cxn modelId="{0C39616D-704F-4B37-9210-0CDA0B5F5BEB}" type="presOf" srcId="{0441ADB8-506F-44BE-984F-1B432065574A}" destId="{8663C2DC-84AB-4BE7-9FA4-CD6B36392FCB}" srcOrd="0" destOrd="1" presId="urn:microsoft.com/office/officeart/2005/8/layout/pList2"/>
    <dgm:cxn modelId="{CB030AC5-1F46-40BC-8835-8BAEB5903DD0}" type="presOf" srcId="{3E357DCC-4152-4696-B602-7C9E31B1FBEE}" destId="{2C6D7BD5-A1F2-482B-BE8E-F42EC77518A9}" srcOrd="0" destOrd="9" presId="urn:microsoft.com/office/officeart/2005/8/layout/pList2"/>
    <dgm:cxn modelId="{AF711DEF-AB41-448E-8090-209894FB87DD}" srcId="{BDCCEC16-E555-4370-B34D-5442F320E573}" destId="{C3F6C105-28AD-486E-A1DF-D63F663553AD}" srcOrd="2" destOrd="0" parTransId="{6FF77C9F-4E8D-421F-A1D6-AD1F294D3133}" sibTransId="{DA5914A8-4C0C-4B52-B1AA-61E78CD70300}"/>
    <dgm:cxn modelId="{287BAC74-E378-41FB-9DA3-B223FA0333B4}" type="presOf" srcId="{BEF2B3A1-E00D-4B9C-8797-0B85C3E49941}" destId="{E8C21E64-FADE-4ECC-8520-A2129043AC4B}" srcOrd="0" destOrd="2" presId="urn:microsoft.com/office/officeart/2005/8/layout/pList2"/>
    <dgm:cxn modelId="{CEDAE179-3594-4819-9ADC-9695E2051536}" type="presOf" srcId="{A919325A-E2C5-462A-A199-F3BE26F5D32A}" destId="{8663C2DC-84AB-4BE7-9FA4-CD6B36392FCB}" srcOrd="0" destOrd="5" presId="urn:microsoft.com/office/officeart/2005/8/layout/pList2"/>
    <dgm:cxn modelId="{EB1BF477-BA0C-44A3-A039-C4D82E22F838}" srcId="{C46FDCF1-4567-4B3D-A8AF-164B436BFD87}" destId="{E3C72AA5-B3C6-4E83-8A81-08EA640D3E7F}" srcOrd="0" destOrd="0" parTransId="{8F5DBF40-A5F5-4364-9A8F-83E8AEA1E646}" sibTransId="{900AC25D-C387-433E-9DB7-C30155E723B7}"/>
    <dgm:cxn modelId="{96374C47-2375-47B4-AE1C-AA8471E65A22}" srcId="{16E69697-452B-4937-B38E-A603C04687D8}" destId="{25A4F657-092F-4036-94AF-5793CB4606E7}" srcOrd="4" destOrd="0" parTransId="{FFBACCC3-693B-4F66-96E6-AAFAEF718BFF}" sibTransId="{C93BA523-DC3B-43A9-BED6-55FB68AE7845}"/>
    <dgm:cxn modelId="{D11C92AB-A15F-49E7-8325-BDA1B487C14B}" type="presOf" srcId="{977E2843-9D92-4FBA-9B6E-3A263926A6FD}" destId="{E8C21E64-FADE-4ECC-8520-A2129043AC4B}" srcOrd="0" destOrd="6" presId="urn:microsoft.com/office/officeart/2005/8/layout/pList2"/>
    <dgm:cxn modelId="{0A708DBD-A1D1-47F7-B672-01A7DCC1A1C7}" srcId="{74FA0E9D-45D5-4B5F-A9E4-12C5FFC3C7B5}" destId="{E71CB147-02D6-47A9-8E47-4A097A4AE10F}" srcOrd="0" destOrd="0" parTransId="{34A4FD02-F901-455D-B395-CB2EEC7CC1E3}" sibTransId="{1FD2D113-E6A9-48F8-AD14-4E3511D9228E}"/>
    <dgm:cxn modelId="{8A6B8034-17CF-4852-B2CD-852302F1F9E2}" srcId="{55C6902B-117B-406D-B1BB-A2BC3E1C7443}" destId="{54F7B543-6981-4C3B-9321-57174ECCB5D4}" srcOrd="1" destOrd="0" parTransId="{FE46FA80-3F7F-4376-AA3E-6F2776B952FF}" sibTransId="{4649C63C-93AB-4F9D-BC5D-3F96A02CEF40}"/>
    <dgm:cxn modelId="{590695BC-4A05-4441-8C89-4BC5DAE7E405}" srcId="{16E69697-452B-4937-B38E-A603C04687D8}" destId="{B22932C7-D53B-4789-AE91-6313DBB47A24}" srcOrd="6" destOrd="0" parTransId="{92FDF0D7-C40D-44E9-80DE-425955535223}" sibTransId="{A6E9743A-F249-4CD7-AE4D-42055D7C897B}"/>
    <dgm:cxn modelId="{623E583F-C4A8-46FD-A087-A51F32705C36}" type="presOf" srcId="{93A13F06-511A-42B6-96A9-0EDC9E245A8B}" destId="{52B6F5A3-B6ED-4CD1-9C32-CD5213C6CF52}" srcOrd="0" destOrd="7" presId="urn:microsoft.com/office/officeart/2005/8/layout/pList2"/>
    <dgm:cxn modelId="{490E673B-4131-4258-9422-0B843A18863B}" type="presOf" srcId="{4EC1CB67-17A7-4934-9A72-6567BE5AE5F9}" destId="{8663C2DC-84AB-4BE7-9FA4-CD6B36392FCB}" srcOrd="0" destOrd="4" presId="urn:microsoft.com/office/officeart/2005/8/layout/pList2"/>
    <dgm:cxn modelId="{76DD782B-3A3D-4E8B-8132-2F0A34D832EE}" type="presOf" srcId="{B22932C7-D53B-4789-AE91-6313DBB47A24}" destId="{E8C21E64-FADE-4ECC-8520-A2129043AC4B}" srcOrd="0" destOrd="7" presId="urn:microsoft.com/office/officeart/2005/8/layout/pList2"/>
    <dgm:cxn modelId="{62B2AEA9-187C-4182-8A6B-DFD8B2FB763D}" srcId="{58915889-04EE-443C-B608-15BF9BE5625C}" destId="{6DDD1FAD-C287-420D-A12F-042600887B4A}" srcOrd="3" destOrd="0" parTransId="{A53DA8E6-A051-4F85-AAD5-E04C629C1576}" sibTransId="{7B8485BE-DA60-41C9-9C0E-E77DEE9FA0ED}"/>
    <dgm:cxn modelId="{45D95A34-66F7-40CE-AB8A-D004E53D9D6D}" type="presOf" srcId="{55C6902B-117B-406D-B1BB-A2BC3E1C7443}" destId="{02EFE62A-3053-4C0A-94E2-F106307C8C04}" srcOrd="0" destOrd="0" presId="urn:microsoft.com/office/officeart/2005/8/layout/pList2"/>
    <dgm:cxn modelId="{AA3033BD-1CD2-4A65-8B22-FE4500322857}" type="presOf" srcId="{9C9A146F-E245-41A6-AAF1-AE2D6F21A779}" destId="{8663C2DC-84AB-4BE7-9FA4-CD6B36392FCB}" srcOrd="0" destOrd="6" presId="urn:microsoft.com/office/officeart/2005/8/layout/pList2"/>
    <dgm:cxn modelId="{24ED37C8-E93C-489A-AF1F-018C0029F7F5}" type="presOf" srcId="{8D00209A-8093-4F5C-8E51-2A1F92A186FA}" destId="{E8C21E64-FADE-4ECC-8520-A2129043AC4B}" srcOrd="0" destOrd="3" presId="urn:microsoft.com/office/officeart/2005/8/layout/pList2"/>
    <dgm:cxn modelId="{CBEB8C97-E6F5-4C23-9C92-EC88DBDB82BC}" type="presOf" srcId="{E68387FB-C6DA-4448-80C0-3E52B134C216}" destId="{2C6D7BD5-A1F2-482B-BE8E-F42EC77518A9}" srcOrd="0" destOrd="4" presId="urn:microsoft.com/office/officeart/2005/8/layout/pList2"/>
    <dgm:cxn modelId="{1F907A8E-EA16-4DAF-9D88-81D1D1C9A4EA}" type="presOf" srcId="{E3C72AA5-B3C6-4E83-8A81-08EA640D3E7F}" destId="{8663C2DC-84AB-4BE7-9FA4-CD6B36392FCB}" srcOrd="0" destOrd="9" presId="urn:microsoft.com/office/officeart/2005/8/layout/pList2"/>
    <dgm:cxn modelId="{3235F195-5CA1-4D98-8247-99AA5D3B877C}" type="presOf" srcId="{4649C63C-93AB-4F9D-BC5D-3F96A02CEF40}" destId="{DF1178CB-CC63-4CE1-948E-EBC617215044}" srcOrd="0" destOrd="0" presId="urn:microsoft.com/office/officeart/2005/8/layout/pList2"/>
    <dgm:cxn modelId="{29B97469-54AE-47E6-9CC7-0656C7E8FCF0}" type="presOf" srcId="{2F43BC38-B7E5-451C-A815-04E512019DB3}" destId="{8663C2DC-84AB-4BE7-9FA4-CD6B36392FCB}" srcOrd="0" destOrd="11" presId="urn:microsoft.com/office/officeart/2005/8/layout/pList2"/>
    <dgm:cxn modelId="{BB84D4F1-CF66-43E6-9AF4-15A79A60931D}" srcId="{58915889-04EE-443C-B608-15BF9BE5625C}" destId="{3F5FBC42-9F86-4057-8375-EC991A74C938}" srcOrd="2" destOrd="0" parTransId="{A52CB7C5-6170-4238-98F8-BF77FEE65A3D}" sibTransId="{F38FF187-324F-422F-A460-69DC7DF21FBF}"/>
    <dgm:cxn modelId="{E9A990D6-B3B3-4537-B099-6831BDA47DD3}" srcId="{54F7B543-6981-4C3B-9321-57174ECCB5D4}" destId="{74FA0E9D-45D5-4B5F-A9E4-12C5FFC3C7B5}" srcOrd="0" destOrd="0" parTransId="{0814A70A-2389-4816-B786-4BFB9A928150}" sibTransId="{54B6F8D8-7C97-4D56-A9FD-BE3AEE6403B5}"/>
    <dgm:cxn modelId="{DB61DC00-80C8-4A1B-BEEC-BDEBFF81E2F7}" srcId="{FC81402C-CF09-41EF-A621-DF4AC34DB796}" destId="{E68387FB-C6DA-4448-80C0-3E52B134C216}" srcOrd="0" destOrd="0" parTransId="{0EFD18E5-A062-448F-9AE2-A1DAFC380D78}" sibTransId="{7DB934C0-D47E-46EC-BE17-06B0404B5663}"/>
    <dgm:cxn modelId="{365E9AD5-33F8-4416-AF90-BAADD9671216}" type="presOf" srcId="{EDD4BEE3-4CCE-4620-B6D6-B9CF0BD1A119}" destId="{003319FC-B342-4F1F-A59B-C1AE22E17352}" srcOrd="0" destOrd="0" presId="urn:microsoft.com/office/officeart/2005/8/layout/pList2"/>
    <dgm:cxn modelId="{83088CB5-5B5E-42B8-9ADC-CEB66DCC29BA}" srcId="{16E69697-452B-4937-B38E-A603C04687D8}" destId="{977E2843-9D92-4FBA-9B6E-3A263926A6FD}" srcOrd="5" destOrd="0" parTransId="{874A9310-713E-42B7-A63D-64176798141A}" sibTransId="{B992C93F-5B5C-4BE4-83F4-87BE2104AD91}"/>
    <dgm:cxn modelId="{82AFFA8A-EC2B-43BA-A389-AD1C9A62D2C9}" srcId="{9C9A146F-E245-41A6-AAF1-AE2D6F21A779}" destId="{64527FB9-44F0-4585-9B08-FE896F421C2A}" srcOrd="0" destOrd="0" parTransId="{D00FC479-958C-469A-837B-6D1B839B8422}" sibTransId="{631F96C7-FBCB-4087-B703-4CD9727513F3}"/>
    <dgm:cxn modelId="{60DE058F-657F-4812-8A6E-B1A8862CB3A9}" type="presOf" srcId="{C5593735-1862-4093-86B8-DE3961E99AB2}" destId="{52B6F5A3-B6ED-4CD1-9C32-CD5213C6CF52}" srcOrd="0" destOrd="3" presId="urn:microsoft.com/office/officeart/2005/8/layout/pList2"/>
    <dgm:cxn modelId="{0C8C0BFF-AA47-4BF9-B3C0-EEC4A5D43685}" srcId="{54F7B543-6981-4C3B-9321-57174ECCB5D4}" destId="{FC81402C-CF09-41EF-A621-DF4AC34DB796}" srcOrd="1" destOrd="0" parTransId="{8530A87E-F14B-467B-AF19-61AEC6F76C36}" sibTransId="{3F5D2520-F4A5-4EB5-B16F-A2E28FC2ADDA}"/>
    <dgm:cxn modelId="{44E6494D-F3A9-4708-B4D2-E148D61BA520}" srcId="{16E69697-452B-4937-B38E-A603C04687D8}" destId="{C463BEA7-C2FC-402B-85FE-56EEB9D0267C}" srcOrd="0" destOrd="0" parTransId="{DEF31CB2-BD7E-4397-AEF5-B5F61647E2DE}" sibTransId="{D7B61385-E475-4C53-BD40-8AA95128C69C}"/>
    <dgm:cxn modelId="{C63C0070-C982-4C75-B3E6-660854215D07}" srcId="{89DC0469-FF1B-4FAC-A926-95EC8B163908}" destId="{4EC1CB67-17A7-4934-9A72-6567BE5AE5F9}" srcOrd="0" destOrd="0" parTransId="{21100385-A4DF-4C8C-B3CF-B90B4B247726}" sibTransId="{16601636-B7A9-4EEB-B1CB-B9C63B8CB19E}"/>
    <dgm:cxn modelId="{ED32245C-A4E1-4691-9A35-76AAE53B762C}" type="presOf" srcId="{6DDD1FAD-C287-420D-A12F-042600887B4A}" destId="{2C6D7BD5-A1F2-482B-BE8E-F42EC77518A9}" srcOrd="0" destOrd="11" presId="urn:microsoft.com/office/officeart/2005/8/layout/pList2"/>
    <dgm:cxn modelId="{6FF73411-CFD3-4628-B784-585D94C687F0}" srcId="{55C6902B-117B-406D-B1BB-A2BC3E1C7443}" destId="{2DF5845F-E145-43F2-A171-DC10421FC9A3}" srcOrd="2" destOrd="0" parTransId="{3B1AB83F-5649-4D3D-B001-46BDB2C109FC}" sibTransId="{EDD4BEE3-4CCE-4620-B6D6-B9CF0BD1A119}"/>
    <dgm:cxn modelId="{3ADDFF99-C9AB-4BF8-8F3A-15BEDF479E1B}" srcId="{58915889-04EE-443C-B608-15BF9BE5625C}" destId="{BB2D715F-0DD4-4211-8F36-8E75FADCA7C1}" srcOrd="0" destOrd="0" parTransId="{2C243CF7-BDE0-4470-A588-682B07439C66}" sibTransId="{C941CBE5-7B6D-49E7-A0AF-76EB03E05C51}"/>
    <dgm:cxn modelId="{78916AD5-6053-4B2F-8004-2C3443F73E45}" srcId="{54F7B543-6981-4C3B-9321-57174ECCB5D4}" destId="{3FC69CAD-E6CE-49C1-9853-A6518733D742}" srcOrd="2" destOrd="0" parTransId="{F4D5121E-3F6F-4D07-8DA9-7591AEFB7F05}" sibTransId="{B9E1923F-8ABB-4BF3-944C-C561A9A00D08}"/>
    <dgm:cxn modelId="{00402957-E640-47DC-97DC-F2E21145B075}" srcId="{9C9A146F-E245-41A6-AAF1-AE2D6F21A779}" destId="{2F43BC38-B7E5-451C-A815-04E512019DB3}" srcOrd="2" destOrd="0" parTransId="{F5A490B3-5C34-4A70-BF01-6C88241163CF}" sibTransId="{58B62232-2BA6-45AD-8509-0E02E018B6BF}"/>
    <dgm:cxn modelId="{890FE6C0-23E8-491E-874D-C2F40B3AEEAD}" srcId="{C46FDCF1-4567-4B3D-A8AF-164B436BFD87}" destId="{3F4ECFE2-0AD9-438F-AA16-8A7531673F41}" srcOrd="1" destOrd="0" parTransId="{35435D37-1CC5-47A5-BAD4-3DEBDBBCE515}" sibTransId="{ADC252B3-B954-4882-8BEF-7CD0BEB682BA}"/>
    <dgm:cxn modelId="{8A2DD65C-C684-4EDD-8DB2-78DF26F5B3B5}" type="presOf" srcId="{098C3EF2-85A1-4976-8F2D-71EC6938C586}" destId="{E8C21E64-FADE-4ECC-8520-A2129043AC4B}" srcOrd="0" destOrd="10" presId="urn:microsoft.com/office/officeart/2005/8/layout/pList2"/>
    <dgm:cxn modelId="{B7545C38-56EF-40EB-A440-A84636FAF9B5}" type="presOf" srcId="{7D42D557-3871-4643-AA33-CDC834252D3F}" destId="{2C6D7BD5-A1F2-482B-BE8E-F42EC77518A9}" srcOrd="0" destOrd="6" presId="urn:microsoft.com/office/officeart/2005/8/layout/pList2"/>
    <dgm:cxn modelId="{77AE2EB4-F41F-4980-A99A-56B6184C3099}" type="presOf" srcId="{98852CBE-5715-466B-AD8F-E12ACF097BE1}" destId="{B04D4151-F14D-4D25-B22F-A48867F039EB}" srcOrd="0" destOrd="0" presId="urn:microsoft.com/office/officeart/2005/8/layout/pList2"/>
    <dgm:cxn modelId="{9297688F-D0C2-45D6-A22D-3D819B00E84C}" type="presParOf" srcId="{02EFE62A-3053-4C0A-94E2-F106307C8C04}" destId="{712F5380-8935-4253-98B7-827781CCAAB4}" srcOrd="0" destOrd="0" presId="urn:microsoft.com/office/officeart/2005/8/layout/pList2"/>
    <dgm:cxn modelId="{6940BA45-9772-4A88-8647-ADCFFD681710}" type="presParOf" srcId="{02EFE62A-3053-4C0A-94E2-F106307C8C04}" destId="{0744DEB5-A4BE-4342-AE68-78627AB5EE97}" srcOrd="1" destOrd="0" presId="urn:microsoft.com/office/officeart/2005/8/layout/pList2"/>
    <dgm:cxn modelId="{E2D3ADFA-C6BB-4F30-99B8-6AC9F068FF21}" type="presParOf" srcId="{0744DEB5-A4BE-4342-AE68-78627AB5EE97}" destId="{6E66C84C-5EF4-40E6-A601-F0C92FAC0BC7}" srcOrd="0" destOrd="0" presId="urn:microsoft.com/office/officeart/2005/8/layout/pList2"/>
    <dgm:cxn modelId="{62F0C2F6-A738-4F15-B7AD-09E9289D8120}" type="presParOf" srcId="{6E66C84C-5EF4-40E6-A601-F0C92FAC0BC7}" destId="{52B6F5A3-B6ED-4CD1-9C32-CD5213C6CF52}" srcOrd="0" destOrd="0" presId="urn:microsoft.com/office/officeart/2005/8/layout/pList2"/>
    <dgm:cxn modelId="{833F7F84-A1B5-4ABD-9012-6C69F4E3DD48}" type="presParOf" srcId="{6E66C84C-5EF4-40E6-A601-F0C92FAC0BC7}" destId="{A7B51519-6305-48BF-B9E8-EE7E8EEAB0D0}" srcOrd="1" destOrd="0" presId="urn:microsoft.com/office/officeart/2005/8/layout/pList2"/>
    <dgm:cxn modelId="{C88E107F-20F4-4887-9881-950EACEEB11C}" type="presParOf" srcId="{6E66C84C-5EF4-40E6-A601-F0C92FAC0BC7}" destId="{004663AB-3284-4718-A01C-E5540C9C185B}" srcOrd="2" destOrd="0" presId="urn:microsoft.com/office/officeart/2005/8/layout/pList2"/>
    <dgm:cxn modelId="{8DC08CF2-6CC6-4E7E-B6FE-488A343271A7}" type="presParOf" srcId="{0744DEB5-A4BE-4342-AE68-78627AB5EE97}" destId="{B04D4151-F14D-4D25-B22F-A48867F039EB}" srcOrd="1" destOrd="0" presId="urn:microsoft.com/office/officeart/2005/8/layout/pList2"/>
    <dgm:cxn modelId="{9900642A-9270-4E56-BFCE-6CD6AE7E9E23}" type="presParOf" srcId="{0744DEB5-A4BE-4342-AE68-78627AB5EE97}" destId="{09ED19F8-54A8-4133-9B6B-5BCE744B0C20}" srcOrd="2" destOrd="0" presId="urn:microsoft.com/office/officeart/2005/8/layout/pList2"/>
    <dgm:cxn modelId="{25CFFA3C-5E03-4F9D-8F87-482C957983D5}" type="presParOf" srcId="{09ED19F8-54A8-4133-9B6B-5BCE744B0C20}" destId="{2C6D7BD5-A1F2-482B-BE8E-F42EC77518A9}" srcOrd="0" destOrd="0" presId="urn:microsoft.com/office/officeart/2005/8/layout/pList2"/>
    <dgm:cxn modelId="{FCAF9599-95E8-48F1-96CB-E518CDEE18E4}" type="presParOf" srcId="{09ED19F8-54A8-4133-9B6B-5BCE744B0C20}" destId="{89A83B9E-D833-4372-B9A5-2D03FC94A0C7}" srcOrd="1" destOrd="0" presId="urn:microsoft.com/office/officeart/2005/8/layout/pList2"/>
    <dgm:cxn modelId="{EB9D31C0-14BA-438B-8062-60A7A98139C4}" type="presParOf" srcId="{09ED19F8-54A8-4133-9B6B-5BCE744B0C20}" destId="{46293599-CD18-456C-B523-2643D9780D34}" srcOrd="2" destOrd="0" presId="urn:microsoft.com/office/officeart/2005/8/layout/pList2"/>
    <dgm:cxn modelId="{C91AC05A-326E-4AFD-9192-B3F9BD2D20CE}" type="presParOf" srcId="{0744DEB5-A4BE-4342-AE68-78627AB5EE97}" destId="{DF1178CB-CC63-4CE1-948E-EBC617215044}" srcOrd="3" destOrd="0" presId="urn:microsoft.com/office/officeart/2005/8/layout/pList2"/>
    <dgm:cxn modelId="{E98099A3-DA69-49B6-94CF-E02C5EDBB9D1}" type="presParOf" srcId="{0744DEB5-A4BE-4342-AE68-78627AB5EE97}" destId="{9FC48F0F-7201-4B3A-912A-3F7EC4499B21}" srcOrd="4" destOrd="0" presId="urn:microsoft.com/office/officeart/2005/8/layout/pList2"/>
    <dgm:cxn modelId="{F29E9834-F1A4-4F70-B8C5-0CE7314B857F}" type="presParOf" srcId="{9FC48F0F-7201-4B3A-912A-3F7EC4499B21}" destId="{8663C2DC-84AB-4BE7-9FA4-CD6B36392FCB}" srcOrd="0" destOrd="0" presId="urn:microsoft.com/office/officeart/2005/8/layout/pList2"/>
    <dgm:cxn modelId="{077887DC-174F-4323-942A-8E097DBF709F}" type="presParOf" srcId="{9FC48F0F-7201-4B3A-912A-3F7EC4499B21}" destId="{72AC4CD8-9A7F-4E6E-88C6-6A9FE42A54BB}" srcOrd="1" destOrd="0" presId="urn:microsoft.com/office/officeart/2005/8/layout/pList2"/>
    <dgm:cxn modelId="{67CF7317-9E1C-49CE-84A2-4DDAE92830CA}" type="presParOf" srcId="{9FC48F0F-7201-4B3A-912A-3F7EC4499B21}" destId="{82F78160-1442-452D-8541-31D68F328FFD}" srcOrd="2" destOrd="0" presId="urn:microsoft.com/office/officeart/2005/8/layout/pList2"/>
    <dgm:cxn modelId="{11F7919F-16DB-4A54-9BB0-B7ABBE0E80AA}" type="presParOf" srcId="{0744DEB5-A4BE-4342-AE68-78627AB5EE97}" destId="{003319FC-B342-4F1F-A59B-C1AE22E17352}" srcOrd="5" destOrd="0" presId="urn:microsoft.com/office/officeart/2005/8/layout/pList2"/>
    <dgm:cxn modelId="{A1A29FAD-7A41-4DB3-B851-D106A22D6B91}" type="presParOf" srcId="{0744DEB5-A4BE-4342-AE68-78627AB5EE97}" destId="{859ACEEC-942C-4C55-AA21-7048503883C5}" srcOrd="6" destOrd="0" presId="urn:microsoft.com/office/officeart/2005/8/layout/pList2"/>
    <dgm:cxn modelId="{8DE354D0-1D35-40DB-998D-7CD27014A219}" type="presParOf" srcId="{859ACEEC-942C-4C55-AA21-7048503883C5}" destId="{E8C21E64-FADE-4ECC-8520-A2129043AC4B}" srcOrd="0" destOrd="0" presId="urn:microsoft.com/office/officeart/2005/8/layout/pList2"/>
    <dgm:cxn modelId="{21188854-27E3-47F4-8C03-D2792F949F1D}" type="presParOf" srcId="{859ACEEC-942C-4C55-AA21-7048503883C5}" destId="{44935385-43AB-4D6E-A696-B4471EE3ED03}" srcOrd="1" destOrd="0" presId="urn:microsoft.com/office/officeart/2005/8/layout/pList2"/>
    <dgm:cxn modelId="{965026EB-D825-43F4-84BF-CC942403D2D8}" type="presParOf" srcId="{859ACEEC-942C-4C55-AA21-7048503883C5}" destId="{98E929B9-8BAA-4422-90E7-ABE3057DD78E}"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C6902B-117B-406D-B1BB-A2BC3E1C7443}" type="doc">
      <dgm:prSet loTypeId="urn:microsoft.com/office/officeart/2005/8/layout/pList2" loCatId="list" qsTypeId="urn:microsoft.com/office/officeart/2005/8/quickstyle/simple1" qsCatId="simple" csTypeId="urn:microsoft.com/office/officeart/2005/8/colors/accent1_2" csCatId="accent1" phldr="1"/>
      <dgm:spPr/>
    </dgm:pt>
    <dgm:pt modelId="{BDCCEC16-E555-4370-B34D-5442F320E573}">
      <dgm:prSet phldrT="[Tekst]"/>
      <dgm:spPr/>
      <dgm:t>
        <a:bodyPr/>
        <a:lstStyle/>
        <a:p>
          <a:r>
            <a:rPr lang="da-DK" dirty="0" smtClean="0"/>
            <a:t>OSU</a:t>
          </a:r>
          <a:endParaRPr lang="da-DK" dirty="0"/>
        </a:p>
      </dgm:t>
    </dgm:pt>
    <dgm:pt modelId="{F93529C7-5C1B-4543-B88D-8ECCE999692B}" type="parTrans" cxnId="{9FBAAFC0-8D9F-4A81-A0E1-25633C4522A4}">
      <dgm:prSet/>
      <dgm:spPr/>
      <dgm:t>
        <a:bodyPr/>
        <a:lstStyle/>
        <a:p>
          <a:endParaRPr lang="da-DK"/>
        </a:p>
      </dgm:t>
    </dgm:pt>
    <dgm:pt modelId="{98852CBE-5715-466B-AD8F-E12ACF097BE1}" type="sibTrans" cxnId="{9FBAAFC0-8D9F-4A81-A0E1-25633C4522A4}">
      <dgm:prSet/>
      <dgm:spPr/>
      <dgm:t>
        <a:bodyPr/>
        <a:lstStyle/>
        <a:p>
          <a:endParaRPr lang="da-DK"/>
        </a:p>
      </dgm:t>
    </dgm:pt>
    <dgm:pt modelId="{3DEED9EB-3768-49C7-A125-077DC13AE8E3}">
      <dgm:prSet phldrT="[Tekst]"/>
      <dgm:spPr/>
      <dgm:t>
        <a:bodyPr/>
        <a:lstStyle/>
        <a:p>
          <a:r>
            <a:rPr lang="da-DK" dirty="0" smtClean="0"/>
            <a:t>12 uger.</a:t>
          </a:r>
          <a:endParaRPr lang="da-DK" dirty="0"/>
        </a:p>
      </dgm:t>
    </dgm:pt>
    <dgm:pt modelId="{84A24B0C-64C8-432F-8C2A-C1C13C54217B}" type="parTrans" cxnId="{F99245E2-45EE-4E2A-9E09-1E4603FC601A}">
      <dgm:prSet/>
      <dgm:spPr/>
      <dgm:t>
        <a:bodyPr/>
        <a:lstStyle/>
        <a:p>
          <a:endParaRPr lang="da-DK"/>
        </a:p>
      </dgm:t>
    </dgm:pt>
    <dgm:pt modelId="{F66C550C-C82D-4A38-B642-EF97B4BBBB6C}" type="sibTrans" cxnId="{F99245E2-45EE-4E2A-9E09-1E4603FC601A}">
      <dgm:prSet/>
      <dgm:spPr/>
      <dgm:t>
        <a:bodyPr/>
        <a:lstStyle/>
        <a:p>
          <a:endParaRPr lang="da-DK"/>
        </a:p>
      </dgm:t>
    </dgm:pt>
    <dgm:pt modelId="{A29855E9-0580-4B2B-A0B7-1244EFCC6619}">
      <dgm:prSet phldrT="[Tekst]"/>
      <dgm:spPr/>
      <dgm:t>
        <a:bodyPr/>
        <a:lstStyle/>
        <a:p>
          <a:endParaRPr lang="da-DK" dirty="0"/>
        </a:p>
      </dgm:t>
    </dgm:pt>
    <dgm:pt modelId="{3B07D430-C531-4068-A14E-BB92B569BBB2}" type="parTrans" cxnId="{7F3004B7-CBBA-44C5-A381-F375BEACD369}">
      <dgm:prSet/>
      <dgm:spPr/>
      <dgm:t>
        <a:bodyPr/>
        <a:lstStyle/>
        <a:p>
          <a:endParaRPr lang="da-DK"/>
        </a:p>
      </dgm:t>
    </dgm:pt>
    <dgm:pt modelId="{861600B1-DA40-491F-99AB-1DFF0B1D9C66}" type="sibTrans" cxnId="{7F3004B7-CBBA-44C5-A381-F375BEACD369}">
      <dgm:prSet/>
      <dgm:spPr/>
      <dgm:t>
        <a:bodyPr/>
        <a:lstStyle/>
        <a:p>
          <a:endParaRPr lang="da-DK"/>
        </a:p>
      </dgm:t>
    </dgm:pt>
    <dgm:pt modelId="{8D565D85-83D1-4CF0-B714-6A608B197EBA}">
      <dgm:prSet phldrT="[Tekst]"/>
      <dgm:spPr/>
      <dgm:t>
        <a:bodyPr/>
        <a:lstStyle/>
        <a:p>
          <a:r>
            <a:rPr lang="da-DK" dirty="0" smtClean="0"/>
            <a:t>FAGLÆ</a:t>
          </a:r>
          <a:endParaRPr lang="da-DK" dirty="0"/>
        </a:p>
      </dgm:t>
    </dgm:pt>
    <dgm:pt modelId="{655DE7C7-E5F7-45A1-AD72-4C6E048D49F8}" type="parTrans" cxnId="{58008417-A3B0-41C3-AB28-F1C401F5371D}">
      <dgm:prSet/>
      <dgm:spPr/>
      <dgm:t>
        <a:bodyPr/>
        <a:lstStyle/>
        <a:p>
          <a:endParaRPr lang="da-DK"/>
        </a:p>
      </dgm:t>
    </dgm:pt>
    <dgm:pt modelId="{9F8F308B-DCC7-4AEF-AB69-826B95A175EE}" type="sibTrans" cxnId="{58008417-A3B0-41C3-AB28-F1C401F5371D}">
      <dgm:prSet/>
      <dgm:spPr/>
      <dgm:t>
        <a:bodyPr/>
        <a:lstStyle/>
        <a:p>
          <a:endParaRPr lang="da-DK"/>
        </a:p>
      </dgm:t>
    </dgm:pt>
    <dgm:pt modelId="{3192004C-521B-43B0-AC6E-D65F382304D5}">
      <dgm:prSet phldrT="[Tekst]"/>
      <dgm:spPr/>
      <dgm:t>
        <a:bodyPr/>
        <a:lstStyle/>
        <a:p>
          <a:r>
            <a:rPr lang="da-DK" dirty="0" smtClean="0"/>
            <a:t>SKYLE-II</a:t>
          </a:r>
          <a:endParaRPr lang="da-DK" dirty="0"/>
        </a:p>
      </dgm:t>
    </dgm:pt>
    <dgm:pt modelId="{4814F43F-1938-4F9C-9925-164B68355A49}" type="parTrans" cxnId="{3EB7E9C7-3E2E-4989-975F-B5A2511ACC46}">
      <dgm:prSet/>
      <dgm:spPr/>
      <dgm:t>
        <a:bodyPr/>
        <a:lstStyle/>
        <a:p>
          <a:endParaRPr lang="da-DK"/>
        </a:p>
      </dgm:t>
    </dgm:pt>
    <dgm:pt modelId="{14AF1BDE-A934-441E-B70C-E12FE65E171C}" type="sibTrans" cxnId="{3EB7E9C7-3E2E-4989-975F-B5A2511ACC46}">
      <dgm:prSet/>
      <dgm:spPr/>
      <dgm:t>
        <a:bodyPr/>
        <a:lstStyle/>
        <a:p>
          <a:endParaRPr lang="da-DK"/>
        </a:p>
      </dgm:t>
    </dgm:pt>
    <dgm:pt modelId="{D702BA43-DBDE-4921-813F-7CEB932262B4}">
      <dgm:prSet phldrT="[Tekst]"/>
      <dgm:spPr/>
      <dgm:t>
        <a:bodyPr/>
        <a:lstStyle/>
        <a:p>
          <a:r>
            <a:rPr lang="da-DK" dirty="0" smtClean="0"/>
            <a:t>CBRN</a:t>
          </a:r>
          <a:endParaRPr lang="da-DK" dirty="0"/>
        </a:p>
      </dgm:t>
    </dgm:pt>
    <dgm:pt modelId="{0C1ECDAF-F673-4729-90AC-2D1CF3DF3E9E}" type="parTrans" cxnId="{B9ED922D-A123-44C1-9B08-D0BF34B49D53}">
      <dgm:prSet/>
      <dgm:spPr/>
      <dgm:t>
        <a:bodyPr/>
        <a:lstStyle/>
        <a:p>
          <a:endParaRPr lang="da-DK"/>
        </a:p>
      </dgm:t>
    </dgm:pt>
    <dgm:pt modelId="{3B8D150D-2254-4E32-A83F-CB837FA30D8C}" type="sibTrans" cxnId="{B9ED922D-A123-44C1-9B08-D0BF34B49D53}">
      <dgm:prSet/>
      <dgm:spPr/>
      <dgm:t>
        <a:bodyPr/>
        <a:lstStyle/>
        <a:p>
          <a:endParaRPr lang="da-DK"/>
        </a:p>
      </dgm:t>
    </dgm:pt>
    <dgm:pt modelId="{1A0169DA-809B-485F-878D-DE22DE5E648D}">
      <dgm:prSet phldrT="[Tekst]"/>
      <dgm:spPr/>
      <dgm:t>
        <a:bodyPr/>
        <a:lstStyle/>
        <a:p>
          <a:r>
            <a:rPr lang="da-DK" dirty="0" smtClean="0"/>
            <a:t>SPRTJ</a:t>
          </a:r>
          <a:endParaRPr lang="da-DK" dirty="0"/>
        </a:p>
      </dgm:t>
    </dgm:pt>
    <dgm:pt modelId="{6C975893-F2AE-43C6-959E-DAAB79F52151}" type="parTrans" cxnId="{B0885120-E847-420C-92E2-DB8619088B95}">
      <dgm:prSet/>
      <dgm:spPr/>
      <dgm:t>
        <a:bodyPr/>
        <a:lstStyle/>
        <a:p>
          <a:endParaRPr lang="da-DK"/>
        </a:p>
      </dgm:t>
    </dgm:pt>
    <dgm:pt modelId="{6F72FB5B-1771-4EAF-8594-6D52ABCC3E16}" type="sibTrans" cxnId="{B0885120-E847-420C-92E2-DB8619088B95}">
      <dgm:prSet/>
      <dgm:spPr/>
      <dgm:t>
        <a:bodyPr/>
        <a:lstStyle/>
        <a:p>
          <a:endParaRPr lang="da-DK"/>
        </a:p>
      </dgm:t>
    </dgm:pt>
    <dgm:pt modelId="{938FBDA9-6ECD-45BA-BC67-8312E729F759}">
      <dgm:prSet phldrT="[Tekst]"/>
      <dgm:spPr/>
      <dgm:t>
        <a:bodyPr/>
        <a:lstStyle/>
        <a:p>
          <a:r>
            <a:rPr lang="da-DK" dirty="0" smtClean="0"/>
            <a:t>LOG</a:t>
          </a:r>
          <a:endParaRPr lang="da-DK" dirty="0"/>
        </a:p>
      </dgm:t>
    </dgm:pt>
    <dgm:pt modelId="{CFD8E630-01B0-4DBA-AD11-27B91F805328}" type="parTrans" cxnId="{79945F72-D91D-4367-9745-2E161C1E6CCB}">
      <dgm:prSet/>
      <dgm:spPr/>
      <dgm:t>
        <a:bodyPr/>
        <a:lstStyle/>
        <a:p>
          <a:endParaRPr lang="da-DK"/>
        </a:p>
      </dgm:t>
    </dgm:pt>
    <dgm:pt modelId="{6E19ECA9-19A6-469D-B388-D5F3C0C11BA2}" type="sibTrans" cxnId="{79945F72-D91D-4367-9745-2E161C1E6CCB}">
      <dgm:prSet/>
      <dgm:spPr/>
      <dgm:t>
        <a:bodyPr/>
        <a:lstStyle/>
        <a:p>
          <a:endParaRPr lang="da-DK"/>
        </a:p>
      </dgm:t>
    </dgm:pt>
    <dgm:pt modelId="{1789AFD6-E904-4057-9762-5905AB73FD71}">
      <dgm:prSet phldrT="[Tekst]"/>
      <dgm:spPr/>
      <dgm:t>
        <a:bodyPr/>
        <a:lstStyle/>
        <a:p>
          <a:r>
            <a:rPr lang="da-DK" dirty="0" smtClean="0"/>
            <a:t>NK/DEL, SF mf.</a:t>
          </a:r>
          <a:endParaRPr lang="da-DK" dirty="0"/>
        </a:p>
      </dgm:t>
    </dgm:pt>
    <dgm:pt modelId="{1901A520-8A32-47F9-A71B-F53E420846BB}" type="parTrans" cxnId="{0F53B113-5573-4877-9DE2-5CCE39BA110F}">
      <dgm:prSet/>
      <dgm:spPr/>
      <dgm:t>
        <a:bodyPr/>
        <a:lstStyle/>
        <a:p>
          <a:endParaRPr lang="da-DK"/>
        </a:p>
      </dgm:t>
    </dgm:pt>
    <dgm:pt modelId="{C66639D5-418C-480E-B01D-A0E4AF58AF33}" type="sibTrans" cxnId="{0F53B113-5573-4877-9DE2-5CCE39BA110F}">
      <dgm:prSet/>
      <dgm:spPr/>
      <dgm:t>
        <a:bodyPr/>
        <a:lstStyle/>
        <a:p>
          <a:endParaRPr lang="da-DK"/>
        </a:p>
      </dgm:t>
    </dgm:pt>
    <dgm:pt modelId="{047FF45D-5839-4B39-8BBA-46B5BE002F37}">
      <dgm:prSet phldrT="[Tekst]"/>
      <dgm:spPr/>
      <dgm:t>
        <a:bodyPr/>
        <a:lstStyle/>
        <a:p>
          <a:r>
            <a:rPr lang="da-DK" dirty="0" smtClean="0"/>
            <a:t>TAKTIK</a:t>
          </a:r>
          <a:endParaRPr lang="da-DK" dirty="0"/>
        </a:p>
      </dgm:t>
    </dgm:pt>
    <dgm:pt modelId="{8D267763-3E30-4D65-B4D2-6F6593FF933D}" type="parTrans" cxnId="{E2468D3A-9F14-41C0-AEE8-DB623A62C71F}">
      <dgm:prSet/>
      <dgm:spPr/>
      <dgm:t>
        <a:bodyPr/>
        <a:lstStyle/>
        <a:p>
          <a:endParaRPr lang="da-DK"/>
        </a:p>
      </dgm:t>
    </dgm:pt>
    <dgm:pt modelId="{CA3F209C-EF1E-4FAD-9E7C-CA8F62E36B25}" type="sibTrans" cxnId="{E2468D3A-9F14-41C0-AEE8-DB623A62C71F}">
      <dgm:prSet/>
      <dgm:spPr/>
      <dgm:t>
        <a:bodyPr/>
        <a:lstStyle/>
        <a:p>
          <a:endParaRPr lang="da-DK"/>
        </a:p>
      </dgm:t>
    </dgm:pt>
    <dgm:pt modelId="{651A231C-9B21-490F-B181-C253F747E907}">
      <dgm:prSet phldrT="[Tekst]"/>
      <dgm:spPr/>
      <dgm:t>
        <a:bodyPr/>
        <a:lstStyle/>
        <a:p>
          <a:r>
            <a:rPr lang="da-DK" dirty="0" err="1" smtClean="0"/>
            <a:t>Krypto</a:t>
          </a:r>
          <a:endParaRPr lang="da-DK" dirty="0"/>
        </a:p>
      </dgm:t>
    </dgm:pt>
    <dgm:pt modelId="{14E35B3B-9614-4F7F-9AFD-DFBF62902B84}" type="sibTrans" cxnId="{50ED6AD8-BFC9-4AF8-971C-8902AA54A9C3}">
      <dgm:prSet/>
      <dgm:spPr/>
      <dgm:t>
        <a:bodyPr/>
        <a:lstStyle/>
        <a:p>
          <a:endParaRPr lang="da-DK"/>
        </a:p>
      </dgm:t>
    </dgm:pt>
    <dgm:pt modelId="{0C2ADF4F-D98E-476B-823B-249AF90A2BED}" type="parTrans" cxnId="{50ED6AD8-BFC9-4AF8-971C-8902AA54A9C3}">
      <dgm:prSet/>
      <dgm:spPr/>
      <dgm:t>
        <a:bodyPr/>
        <a:lstStyle/>
        <a:p>
          <a:endParaRPr lang="da-DK"/>
        </a:p>
      </dgm:t>
    </dgm:pt>
    <dgm:pt modelId="{02EFE62A-3053-4C0A-94E2-F106307C8C04}" type="pres">
      <dgm:prSet presAssocID="{55C6902B-117B-406D-B1BB-A2BC3E1C7443}" presName="Name0" presStyleCnt="0">
        <dgm:presLayoutVars>
          <dgm:dir/>
          <dgm:resizeHandles val="exact"/>
        </dgm:presLayoutVars>
      </dgm:prSet>
      <dgm:spPr/>
    </dgm:pt>
    <dgm:pt modelId="{712F5380-8935-4253-98B7-827781CCAAB4}" type="pres">
      <dgm:prSet presAssocID="{55C6902B-117B-406D-B1BB-A2BC3E1C7443}" presName="bkgdShp" presStyleLbl="alignAccFollowNode1" presStyleIdx="0" presStyleCnt="1"/>
      <dgm:spPr/>
    </dgm:pt>
    <dgm:pt modelId="{0744DEB5-A4BE-4342-AE68-78627AB5EE97}" type="pres">
      <dgm:prSet presAssocID="{55C6902B-117B-406D-B1BB-A2BC3E1C7443}" presName="linComp" presStyleCnt="0"/>
      <dgm:spPr/>
    </dgm:pt>
    <dgm:pt modelId="{6E66C84C-5EF4-40E6-A601-F0C92FAC0BC7}" type="pres">
      <dgm:prSet presAssocID="{BDCCEC16-E555-4370-B34D-5442F320E573}" presName="compNode" presStyleCnt="0"/>
      <dgm:spPr/>
    </dgm:pt>
    <dgm:pt modelId="{52B6F5A3-B6ED-4CD1-9C32-CD5213C6CF52}" type="pres">
      <dgm:prSet presAssocID="{BDCCEC16-E555-4370-B34D-5442F320E573}" presName="node" presStyleLbl="node1" presStyleIdx="0" presStyleCnt="1">
        <dgm:presLayoutVars>
          <dgm:bulletEnabled val="1"/>
        </dgm:presLayoutVars>
      </dgm:prSet>
      <dgm:spPr/>
      <dgm:t>
        <a:bodyPr/>
        <a:lstStyle/>
        <a:p>
          <a:endParaRPr lang="da-DK"/>
        </a:p>
      </dgm:t>
    </dgm:pt>
    <dgm:pt modelId="{A7B51519-6305-48BF-B9E8-EE7E8EEAB0D0}" type="pres">
      <dgm:prSet presAssocID="{BDCCEC16-E555-4370-B34D-5442F320E573}" presName="invisiNode" presStyleLbl="node1" presStyleIdx="0" presStyleCnt="1"/>
      <dgm:spPr/>
    </dgm:pt>
    <dgm:pt modelId="{004663AB-3284-4718-A01C-E5540C9C185B}" type="pres">
      <dgm:prSet presAssocID="{BDCCEC16-E555-4370-B34D-5442F320E573}" presName="imagNode" presStyleLbl="fgImgPlace1" presStyleIdx="0" presStyleCnt="1"/>
      <dgm:spPr>
        <a:blipFill rotWithShape="1">
          <a:blip xmlns:r="http://schemas.openxmlformats.org/officeDocument/2006/relationships" r:embed="rId1"/>
          <a:stretch>
            <a:fillRect/>
          </a:stretch>
        </a:blipFill>
      </dgm:spPr>
    </dgm:pt>
  </dgm:ptLst>
  <dgm:cxnLst>
    <dgm:cxn modelId="{58008417-A3B0-41C3-AB28-F1C401F5371D}" srcId="{3DEED9EB-3768-49C7-A125-077DC13AE8E3}" destId="{8D565D85-83D1-4CF0-B714-6A608B197EBA}" srcOrd="1" destOrd="0" parTransId="{655DE7C7-E5F7-45A1-AD72-4C6E048D49F8}" sibTransId="{9F8F308B-DCC7-4AEF-AB69-826B95A175EE}"/>
    <dgm:cxn modelId="{9FBAAFC0-8D9F-4A81-A0E1-25633C4522A4}" srcId="{55C6902B-117B-406D-B1BB-A2BC3E1C7443}" destId="{BDCCEC16-E555-4370-B34D-5442F320E573}" srcOrd="0" destOrd="0" parTransId="{F93529C7-5C1B-4543-B88D-8ECCE999692B}" sibTransId="{98852CBE-5715-466B-AD8F-E12ACF097BE1}"/>
    <dgm:cxn modelId="{0F53B113-5573-4877-9DE2-5CCE39BA110F}" srcId="{BDCCEC16-E555-4370-B34D-5442F320E573}" destId="{1789AFD6-E904-4057-9762-5905AB73FD71}" srcOrd="0" destOrd="0" parTransId="{1901A520-8A32-47F9-A71B-F53E420846BB}" sibTransId="{C66639D5-418C-480E-B01D-A0E4AF58AF33}"/>
    <dgm:cxn modelId="{2F1BC415-A8CE-477B-A70D-618FC71DB853}" type="presOf" srcId="{BDCCEC16-E555-4370-B34D-5442F320E573}" destId="{52B6F5A3-B6ED-4CD1-9C32-CD5213C6CF52}" srcOrd="0" destOrd="0" presId="urn:microsoft.com/office/officeart/2005/8/layout/pList2"/>
    <dgm:cxn modelId="{7F305003-CFDD-480C-B7C6-1D886537549E}" type="presOf" srcId="{D702BA43-DBDE-4921-813F-7CEB932262B4}" destId="{52B6F5A3-B6ED-4CD1-9C32-CD5213C6CF52}" srcOrd="0" destOrd="6" presId="urn:microsoft.com/office/officeart/2005/8/layout/pList2"/>
    <dgm:cxn modelId="{50ED6AD8-BFC9-4AF8-971C-8902AA54A9C3}" srcId="{3DEED9EB-3768-49C7-A125-077DC13AE8E3}" destId="{651A231C-9B21-490F-B181-C253F747E907}" srcOrd="6" destOrd="0" parTransId="{0C2ADF4F-D98E-476B-823B-249AF90A2BED}" sibTransId="{14E35B3B-9614-4F7F-9AFD-DFBF62902B84}"/>
    <dgm:cxn modelId="{E2468D3A-9F14-41C0-AEE8-DB623A62C71F}" srcId="{3DEED9EB-3768-49C7-A125-077DC13AE8E3}" destId="{047FF45D-5839-4B39-8BBA-46B5BE002F37}" srcOrd="0" destOrd="0" parTransId="{8D267763-3E30-4D65-B4D2-6F6593FF933D}" sibTransId="{CA3F209C-EF1E-4FAD-9E7C-CA8F62E36B25}"/>
    <dgm:cxn modelId="{3EB7E9C7-3E2E-4989-975F-B5A2511ACC46}" srcId="{3DEED9EB-3768-49C7-A125-077DC13AE8E3}" destId="{3192004C-521B-43B0-AC6E-D65F382304D5}" srcOrd="2" destOrd="0" parTransId="{4814F43F-1938-4F9C-9925-164B68355A49}" sibTransId="{14AF1BDE-A934-441E-B70C-E12FE65E171C}"/>
    <dgm:cxn modelId="{F99245E2-45EE-4E2A-9E09-1E4603FC601A}" srcId="{BDCCEC16-E555-4370-B34D-5442F320E573}" destId="{3DEED9EB-3768-49C7-A125-077DC13AE8E3}" srcOrd="1" destOrd="0" parTransId="{84A24B0C-64C8-432F-8C2A-C1C13C54217B}" sibTransId="{F66C550C-C82D-4A38-B642-EF97B4BBBB6C}"/>
    <dgm:cxn modelId="{6546FDBB-9225-4DD0-8255-6E84DA81785F}" type="presOf" srcId="{1A0169DA-809B-485F-878D-DE22DE5E648D}" destId="{52B6F5A3-B6ED-4CD1-9C32-CD5213C6CF52}" srcOrd="0" destOrd="7" presId="urn:microsoft.com/office/officeart/2005/8/layout/pList2"/>
    <dgm:cxn modelId="{45D95A34-66F7-40CE-AB8A-D004E53D9D6D}" type="presOf" srcId="{55C6902B-117B-406D-B1BB-A2BC3E1C7443}" destId="{02EFE62A-3053-4C0A-94E2-F106307C8C04}" srcOrd="0" destOrd="0" presId="urn:microsoft.com/office/officeart/2005/8/layout/pList2"/>
    <dgm:cxn modelId="{CAE7375C-E559-4775-8B78-7E8A8184E80B}" type="presOf" srcId="{8D565D85-83D1-4CF0-B714-6A608B197EBA}" destId="{52B6F5A3-B6ED-4CD1-9C32-CD5213C6CF52}" srcOrd="0" destOrd="4" presId="urn:microsoft.com/office/officeart/2005/8/layout/pList2"/>
    <dgm:cxn modelId="{79945F72-D91D-4367-9745-2E161C1E6CCB}" srcId="{3DEED9EB-3768-49C7-A125-077DC13AE8E3}" destId="{938FBDA9-6ECD-45BA-BC67-8312E729F759}" srcOrd="5" destOrd="0" parTransId="{CFD8E630-01B0-4DBA-AD11-27B91F805328}" sibTransId="{6E19ECA9-19A6-469D-B388-D5F3C0C11BA2}"/>
    <dgm:cxn modelId="{C6B898B9-7A9C-4583-A3A7-97A5169D51B6}" type="presOf" srcId="{651A231C-9B21-490F-B181-C253F747E907}" destId="{52B6F5A3-B6ED-4CD1-9C32-CD5213C6CF52}" srcOrd="0" destOrd="9" presId="urn:microsoft.com/office/officeart/2005/8/layout/pList2"/>
    <dgm:cxn modelId="{82941680-AF17-4008-AF3D-3BD28BE18007}" type="presOf" srcId="{1789AFD6-E904-4057-9762-5905AB73FD71}" destId="{52B6F5A3-B6ED-4CD1-9C32-CD5213C6CF52}" srcOrd="0" destOrd="1" presId="urn:microsoft.com/office/officeart/2005/8/layout/pList2"/>
    <dgm:cxn modelId="{5654D1EB-39A8-4904-A2E6-32E63390F808}" type="presOf" srcId="{3DEED9EB-3768-49C7-A125-077DC13AE8E3}" destId="{52B6F5A3-B6ED-4CD1-9C32-CD5213C6CF52}" srcOrd="0" destOrd="2" presId="urn:microsoft.com/office/officeart/2005/8/layout/pList2"/>
    <dgm:cxn modelId="{1264C2C8-19FC-4A32-97E0-4B880D3A79A0}" type="presOf" srcId="{3192004C-521B-43B0-AC6E-D65F382304D5}" destId="{52B6F5A3-B6ED-4CD1-9C32-CD5213C6CF52}" srcOrd="0" destOrd="5" presId="urn:microsoft.com/office/officeart/2005/8/layout/pList2"/>
    <dgm:cxn modelId="{5A9AA8A7-0E5E-4AB5-89BC-2806FC1B3DA8}" type="presOf" srcId="{938FBDA9-6ECD-45BA-BC67-8312E729F759}" destId="{52B6F5A3-B6ED-4CD1-9C32-CD5213C6CF52}" srcOrd="0" destOrd="8" presId="urn:microsoft.com/office/officeart/2005/8/layout/pList2"/>
    <dgm:cxn modelId="{FC353835-3E4E-44D4-B810-7587E640A1A7}" type="presOf" srcId="{A29855E9-0580-4B2B-A0B7-1244EFCC6619}" destId="{52B6F5A3-B6ED-4CD1-9C32-CD5213C6CF52}" srcOrd="0" destOrd="10" presId="urn:microsoft.com/office/officeart/2005/8/layout/pList2"/>
    <dgm:cxn modelId="{E049B98C-8199-431B-8A1A-2DAFAA486EBB}" type="presOf" srcId="{047FF45D-5839-4B39-8BBA-46B5BE002F37}" destId="{52B6F5A3-B6ED-4CD1-9C32-CD5213C6CF52}" srcOrd="0" destOrd="3" presId="urn:microsoft.com/office/officeart/2005/8/layout/pList2"/>
    <dgm:cxn modelId="{B9ED922D-A123-44C1-9B08-D0BF34B49D53}" srcId="{3DEED9EB-3768-49C7-A125-077DC13AE8E3}" destId="{D702BA43-DBDE-4921-813F-7CEB932262B4}" srcOrd="3" destOrd="0" parTransId="{0C1ECDAF-F673-4729-90AC-2D1CF3DF3E9E}" sibTransId="{3B8D150D-2254-4E32-A83F-CB837FA30D8C}"/>
    <dgm:cxn modelId="{B0885120-E847-420C-92E2-DB8619088B95}" srcId="{3DEED9EB-3768-49C7-A125-077DC13AE8E3}" destId="{1A0169DA-809B-485F-878D-DE22DE5E648D}" srcOrd="4" destOrd="0" parTransId="{6C975893-F2AE-43C6-959E-DAAB79F52151}" sibTransId="{6F72FB5B-1771-4EAF-8594-6D52ABCC3E16}"/>
    <dgm:cxn modelId="{7F3004B7-CBBA-44C5-A381-F375BEACD369}" srcId="{BDCCEC16-E555-4370-B34D-5442F320E573}" destId="{A29855E9-0580-4B2B-A0B7-1244EFCC6619}" srcOrd="2" destOrd="0" parTransId="{3B07D430-C531-4068-A14E-BB92B569BBB2}" sibTransId="{861600B1-DA40-491F-99AB-1DFF0B1D9C66}"/>
    <dgm:cxn modelId="{9297688F-D0C2-45D6-A22D-3D819B00E84C}" type="presParOf" srcId="{02EFE62A-3053-4C0A-94E2-F106307C8C04}" destId="{712F5380-8935-4253-98B7-827781CCAAB4}" srcOrd="0" destOrd="0" presId="urn:microsoft.com/office/officeart/2005/8/layout/pList2"/>
    <dgm:cxn modelId="{6940BA45-9772-4A88-8647-ADCFFD681710}" type="presParOf" srcId="{02EFE62A-3053-4C0A-94E2-F106307C8C04}" destId="{0744DEB5-A4BE-4342-AE68-78627AB5EE97}" srcOrd="1" destOrd="0" presId="urn:microsoft.com/office/officeart/2005/8/layout/pList2"/>
    <dgm:cxn modelId="{E2D3ADFA-C6BB-4F30-99B8-6AC9F068FF21}" type="presParOf" srcId="{0744DEB5-A4BE-4342-AE68-78627AB5EE97}" destId="{6E66C84C-5EF4-40E6-A601-F0C92FAC0BC7}" srcOrd="0" destOrd="0" presId="urn:microsoft.com/office/officeart/2005/8/layout/pList2"/>
    <dgm:cxn modelId="{62F0C2F6-A738-4F15-B7AD-09E9289D8120}" type="presParOf" srcId="{6E66C84C-5EF4-40E6-A601-F0C92FAC0BC7}" destId="{52B6F5A3-B6ED-4CD1-9C32-CD5213C6CF52}" srcOrd="0" destOrd="0" presId="urn:microsoft.com/office/officeart/2005/8/layout/pList2"/>
    <dgm:cxn modelId="{833F7F84-A1B5-4ABD-9012-6C69F4E3DD48}" type="presParOf" srcId="{6E66C84C-5EF4-40E6-A601-F0C92FAC0BC7}" destId="{A7B51519-6305-48BF-B9E8-EE7E8EEAB0D0}" srcOrd="1" destOrd="0" presId="urn:microsoft.com/office/officeart/2005/8/layout/pList2"/>
    <dgm:cxn modelId="{C88E107F-20F4-4887-9881-950EACEEB11C}" type="presParOf" srcId="{6E66C84C-5EF4-40E6-A601-F0C92FAC0BC7}" destId="{004663AB-3284-4718-A01C-E5540C9C185B}"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5C6902B-117B-406D-B1BB-A2BC3E1C7443}" type="doc">
      <dgm:prSet loTypeId="urn:microsoft.com/office/officeart/2005/8/layout/pList2" loCatId="list" qsTypeId="urn:microsoft.com/office/officeart/2005/8/quickstyle/simple1" qsCatId="simple" csTypeId="urn:microsoft.com/office/officeart/2005/8/colors/accent1_2" csCatId="accent1" phldr="1"/>
      <dgm:spPr/>
    </dgm:pt>
    <dgm:pt modelId="{BDCCEC16-E555-4370-B34D-5442F320E573}">
      <dgm:prSet phldrT="[Tekst]"/>
      <dgm:spPr/>
      <dgm:t>
        <a:bodyPr/>
        <a:lstStyle/>
        <a:p>
          <a:pPr algn="ctr"/>
          <a:r>
            <a:rPr lang="da-DK" sz="1200" b="1" dirty="0" smtClean="0"/>
            <a:t>Sergent</a:t>
          </a:r>
          <a:endParaRPr lang="da-DK" sz="1200" b="1" dirty="0"/>
        </a:p>
      </dgm:t>
    </dgm:pt>
    <dgm:pt modelId="{F93529C7-5C1B-4543-B88D-8ECCE999692B}" type="parTrans" cxnId="{9FBAAFC0-8D9F-4A81-A0E1-25633C4522A4}">
      <dgm:prSet/>
      <dgm:spPr/>
      <dgm:t>
        <a:bodyPr/>
        <a:lstStyle/>
        <a:p>
          <a:endParaRPr lang="da-DK"/>
        </a:p>
      </dgm:t>
    </dgm:pt>
    <dgm:pt modelId="{98852CBE-5715-466B-AD8F-E12ACF097BE1}" type="sibTrans" cxnId="{9FBAAFC0-8D9F-4A81-A0E1-25633C4522A4}">
      <dgm:prSet/>
      <dgm:spPr/>
      <dgm:t>
        <a:bodyPr/>
        <a:lstStyle/>
        <a:p>
          <a:endParaRPr lang="da-DK"/>
        </a:p>
      </dgm:t>
    </dgm:pt>
    <dgm:pt modelId="{54F7B543-6981-4C3B-9321-57174ECCB5D4}">
      <dgm:prSet phldrT="[Tekst]"/>
      <dgm:spPr/>
      <dgm:t>
        <a:bodyPr/>
        <a:lstStyle/>
        <a:p>
          <a:pPr algn="ctr"/>
          <a:r>
            <a:rPr lang="da-DK" sz="1200" b="1" dirty="0" smtClean="0"/>
            <a:t>Oversergent</a:t>
          </a:r>
          <a:endParaRPr lang="da-DK" sz="1200" b="1" dirty="0"/>
        </a:p>
      </dgm:t>
    </dgm:pt>
    <dgm:pt modelId="{FE46FA80-3F7F-4376-AA3E-6F2776B952FF}" type="parTrans" cxnId="{8A6B8034-17CF-4852-B2CD-852302F1F9E2}">
      <dgm:prSet/>
      <dgm:spPr/>
      <dgm:t>
        <a:bodyPr/>
        <a:lstStyle/>
        <a:p>
          <a:endParaRPr lang="da-DK"/>
        </a:p>
      </dgm:t>
    </dgm:pt>
    <dgm:pt modelId="{4649C63C-93AB-4F9D-BC5D-3F96A02CEF40}" type="sibTrans" cxnId="{8A6B8034-17CF-4852-B2CD-852302F1F9E2}">
      <dgm:prSet/>
      <dgm:spPr/>
      <dgm:t>
        <a:bodyPr/>
        <a:lstStyle/>
        <a:p>
          <a:endParaRPr lang="da-DK"/>
        </a:p>
      </dgm:t>
    </dgm:pt>
    <dgm:pt modelId="{16E69697-452B-4937-B38E-A603C04687D8}">
      <dgm:prSet phldrT="[Tekst]"/>
      <dgm:spPr/>
      <dgm:t>
        <a:bodyPr/>
        <a:lstStyle/>
        <a:p>
          <a:r>
            <a:rPr lang="da-DK" sz="1200" b="1" dirty="0" smtClean="0"/>
            <a:t>Chefsergent</a:t>
          </a:r>
          <a:endParaRPr lang="da-DK" sz="1200" b="1" dirty="0"/>
        </a:p>
      </dgm:t>
    </dgm:pt>
    <dgm:pt modelId="{6A0EF079-E2BC-494A-AD99-8E4A6C9EE451}" type="parTrans" cxnId="{C1218887-6921-4448-8C25-682C82E345E0}">
      <dgm:prSet/>
      <dgm:spPr/>
      <dgm:t>
        <a:bodyPr/>
        <a:lstStyle/>
        <a:p>
          <a:endParaRPr lang="da-DK"/>
        </a:p>
      </dgm:t>
    </dgm:pt>
    <dgm:pt modelId="{8495628B-B758-4878-8E1F-F7E1E3AFF3F7}" type="sibTrans" cxnId="{C1218887-6921-4448-8C25-682C82E345E0}">
      <dgm:prSet/>
      <dgm:spPr/>
      <dgm:t>
        <a:bodyPr/>
        <a:lstStyle/>
        <a:p>
          <a:endParaRPr lang="da-DK"/>
        </a:p>
      </dgm:t>
    </dgm:pt>
    <dgm:pt modelId="{616CB614-7001-4B74-BA5A-9A9AFEA71649}">
      <dgm:prSet phldrT="[Tekst]" custT="1"/>
      <dgm:spPr/>
      <dgm:t>
        <a:bodyPr/>
        <a:lstStyle/>
        <a:p>
          <a:pPr algn="l"/>
          <a:r>
            <a:rPr lang="da-DK" sz="1100" u="sng" dirty="0" smtClean="0"/>
            <a:t>Føring</a:t>
          </a:r>
          <a:endParaRPr lang="da-DK" sz="1100" u="sng" dirty="0"/>
        </a:p>
      </dgm:t>
    </dgm:pt>
    <dgm:pt modelId="{F3711F94-4901-4E2A-90CA-AFB3CC79E8F4}" type="parTrans" cxnId="{83C48663-5885-41A2-8CBA-23FD43DDD45B}">
      <dgm:prSet/>
      <dgm:spPr/>
      <dgm:t>
        <a:bodyPr/>
        <a:lstStyle/>
        <a:p>
          <a:endParaRPr lang="da-DK"/>
        </a:p>
      </dgm:t>
    </dgm:pt>
    <dgm:pt modelId="{396E570A-DBAE-446A-A338-CAD39ADF0B69}" type="sibTrans" cxnId="{83C48663-5885-41A2-8CBA-23FD43DDD45B}">
      <dgm:prSet/>
      <dgm:spPr/>
      <dgm:t>
        <a:bodyPr/>
        <a:lstStyle/>
        <a:p>
          <a:endParaRPr lang="da-DK"/>
        </a:p>
      </dgm:t>
    </dgm:pt>
    <dgm:pt modelId="{C5593735-1862-4093-86B8-DE3961E99AB2}">
      <dgm:prSet phldrT="[Tekst]" custT="1"/>
      <dgm:spPr/>
      <dgm:t>
        <a:bodyPr/>
        <a:lstStyle/>
        <a:p>
          <a:pPr algn="l"/>
          <a:r>
            <a:rPr lang="da-DK" sz="1100" u="sng" dirty="0" smtClean="0"/>
            <a:t>Ledelse</a:t>
          </a:r>
          <a:endParaRPr lang="da-DK" sz="1100" u="sng" dirty="0"/>
        </a:p>
      </dgm:t>
    </dgm:pt>
    <dgm:pt modelId="{B885E1C5-7F80-4C16-9446-D8FB941241C0}" type="parTrans" cxnId="{180567CB-396E-44F1-B992-E3CB4A40A772}">
      <dgm:prSet/>
      <dgm:spPr/>
      <dgm:t>
        <a:bodyPr/>
        <a:lstStyle/>
        <a:p>
          <a:endParaRPr lang="da-DK"/>
        </a:p>
      </dgm:t>
    </dgm:pt>
    <dgm:pt modelId="{37039AB7-E0CE-4C36-80A8-67D649B0720D}" type="sibTrans" cxnId="{180567CB-396E-44F1-B992-E3CB4A40A772}">
      <dgm:prSet/>
      <dgm:spPr/>
      <dgm:t>
        <a:bodyPr/>
        <a:lstStyle/>
        <a:p>
          <a:endParaRPr lang="da-DK"/>
        </a:p>
      </dgm:t>
    </dgm:pt>
    <dgm:pt modelId="{C3F6C105-28AD-486E-A1DF-D63F663553AD}">
      <dgm:prSet phldrT="[Tekst]" custT="1"/>
      <dgm:spPr/>
      <dgm:t>
        <a:bodyPr/>
        <a:lstStyle/>
        <a:p>
          <a:pPr algn="l"/>
          <a:r>
            <a:rPr lang="da-DK" sz="1100" u="sng" dirty="0" smtClean="0"/>
            <a:t>Uddannelse</a:t>
          </a:r>
          <a:endParaRPr lang="da-DK" sz="1100" u="sng" dirty="0"/>
        </a:p>
      </dgm:t>
    </dgm:pt>
    <dgm:pt modelId="{6FF77C9F-4E8D-421F-A1D6-AD1F294D3133}" type="parTrans" cxnId="{AF711DEF-AB41-448E-8090-209894FB87DD}">
      <dgm:prSet/>
      <dgm:spPr/>
      <dgm:t>
        <a:bodyPr/>
        <a:lstStyle/>
        <a:p>
          <a:endParaRPr lang="da-DK"/>
        </a:p>
      </dgm:t>
    </dgm:pt>
    <dgm:pt modelId="{DA5914A8-4C0C-4B52-B1AA-61E78CD70300}" type="sibTrans" cxnId="{AF711DEF-AB41-448E-8090-209894FB87DD}">
      <dgm:prSet/>
      <dgm:spPr/>
      <dgm:t>
        <a:bodyPr/>
        <a:lstStyle/>
        <a:p>
          <a:endParaRPr lang="da-DK"/>
        </a:p>
      </dgm:t>
    </dgm:pt>
    <dgm:pt modelId="{EBCB2525-4071-4AE0-9139-D07F634F9937}">
      <dgm:prSet phldrT="[Tekst]" custT="1"/>
      <dgm:spPr/>
      <dgm:t>
        <a:bodyPr/>
        <a:lstStyle/>
        <a:p>
          <a:pPr algn="l"/>
          <a:r>
            <a:rPr lang="da-DK" sz="1100" dirty="0" smtClean="0"/>
            <a:t>GRP </a:t>
          </a:r>
          <a:r>
            <a:rPr lang="da-DK" sz="1100" dirty="0" smtClean="0">
              <a:sym typeface="Wingdings" panose="05000000000000000000" pitchFamily="2" charset="2"/>
            </a:rPr>
            <a:t>Krise/krig</a:t>
          </a:r>
          <a:endParaRPr lang="da-DK" sz="1100" dirty="0"/>
        </a:p>
      </dgm:t>
    </dgm:pt>
    <dgm:pt modelId="{1EDE7A3E-257F-4A13-9060-3800376428BA}" type="parTrans" cxnId="{3A481BAC-30CD-4714-8ECC-F47CBF6F09D5}">
      <dgm:prSet/>
      <dgm:spPr/>
      <dgm:t>
        <a:bodyPr/>
        <a:lstStyle/>
        <a:p>
          <a:endParaRPr lang="da-DK"/>
        </a:p>
      </dgm:t>
    </dgm:pt>
    <dgm:pt modelId="{752EBA0B-69EA-4855-9808-ED787DF6BC8E}" type="sibTrans" cxnId="{3A481BAC-30CD-4714-8ECC-F47CBF6F09D5}">
      <dgm:prSet/>
      <dgm:spPr/>
      <dgm:t>
        <a:bodyPr/>
        <a:lstStyle/>
        <a:p>
          <a:endParaRPr lang="da-DK"/>
        </a:p>
      </dgm:t>
    </dgm:pt>
    <dgm:pt modelId="{65608C43-BAEA-4322-8DE8-15D64B1A515B}">
      <dgm:prSet phldrT="[Tekst]" custT="1"/>
      <dgm:spPr/>
      <dgm:t>
        <a:bodyPr/>
        <a:lstStyle/>
        <a:p>
          <a:pPr algn="l"/>
          <a:r>
            <a:rPr lang="da-DK" sz="1100" dirty="0" smtClean="0"/>
            <a:t>Ledelsesgrundlag i rammen af GRP</a:t>
          </a:r>
          <a:endParaRPr lang="da-DK" sz="1100" dirty="0"/>
        </a:p>
      </dgm:t>
    </dgm:pt>
    <dgm:pt modelId="{EFE6C41B-E302-4AA8-9F94-350ED72A481F}" type="parTrans" cxnId="{8DCC4D0C-EC60-4C7A-AEDF-8481B7A69604}">
      <dgm:prSet/>
      <dgm:spPr/>
      <dgm:t>
        <a:bodyPr/>
        <a:lstStyle/>
        <a:p>
          <a:endParaRPr lang="da-DK"/>
        </a:p>
      </dgm:t>
    </dgm:pt>
    <dgm:pt modelId="{28EC4513-A62F-4052-B5FB-525857E3A519}" type="sibTrans" cxnId="{8DCC4D0C-EC60-4C7A-AEDF-8481B7A69604}">
      <dgm:prSet/>
      <dgm:spPr/>
      <dgm:t>
        <a:bodyPr/>
        <a:lstStyle/>
        <a:p>
          <a:endParaRPr lang="da-DK"/>
        </a:p>
      </dgm:t>
    </dgm:pt>
    <dgm:pt modelId="{DB590001-5093-4C97-B2C7-3038D8B07A19}">
      <dgm:prSet phldrT="[Tekst]" custT="1"/>
      <dgm:spPr/>
      <dgm:t>
        <a:bodyPr/>
        <a:lstStyle/>
        <a:p>
          <a:pPr algn="l"/>
          <a:r>
            <a:rPr lang="da-DK" sz="1100" u="none" dirty="0" smtClean="0"/>
            <a:t>GSU/ALM</a:t>
          </a:r>
          <a:endParaRPr lang="da-DK" sz="1100" u="none" dirty="0"/>
        </a:p>
      </dgm:t>
    </dgm:pt>
    <dgm:pt modelId="{47CB0603-43E0-4E4A-995D-64E9A68F2D5C}" type="parTrans" cxnId="{AFCB0ED8-D2F2-4DBA-95A1-D1FBC7116FBD}">
      <dgm:prSet/>
      <dgm:spPr/>
      <dgm:t>
        <a:bodyPr/>
        <a:lstStyle/>
        <a:p>
          <a:endParaRPr lang="da-DK"/>
        </a:p>
      </dgm:t>
    </dgm:pt>
    <dgm:pt modelId="{853EEB83-647D-4BF6-989F-DC55E0905F59}" type="sibTrans" cxnId="{AFCB0ED8-D2F2-4DBA-95A1-D1FBC7116FBD}">
      <dgm:prSet/>
      <dgm:spPr/>
      <dgm:t>
        <a:bodyPr/>
        <a:lstStyle/>
        <a:p>
          <a:endParaRPr lang="da-DK"/>
        </a:p>
      </dgm:t>
    </dgm:pt>
    <dgm:pt modelId="{7540EBED-EFBD-42E2-B6AB-A7E4B806BDB2}">
      <dgm:prSet phldrT="[Tekst]" custT="1"/>
      <dgm:spPr/>
      <dgm:t>
        <a:bodyPr/>
        <a:lstStyle/>
        <a:p>
          <a:pPr algn="l"/>
          <a:endParaRPr lang="da-DK" sz="1100" u="none" dirty="0"/>
        </a:p>
      </dgm:t>
    </dgm:pt>
    <dgm:pt modelId="{9EC2EB14-F658-4E49-80EB-31CBD240B78B}" type="parTrans" cxnId="{C210DCD5-EE49-414E-BD88-AE95E8DD960B}">
      <dgm:prSet/>
      <dgm:spPr/>
      <dgm:t>
        <a:bodyPr/>
        <a:lstStyle/>
        <a:p>
          <a:endParaRPr lang="da-DK"/>
        </a:p>
      </dgm:t>
    </dgm:pt>
    <dgm:pt modelId="{6394A65B-0E74-410F-A176-7C70540F3F66}" type="sibTrans" cxnId="{C210DCD5-EE49-414E-BD88-AE95E8DD960B}">
      <dgm:prSet/>
      <dgm:spPr/>
      <dgm:t>
        <a:bodyPr/>
        <a:lstStyle/>
        <a:p>
          <a:endParaRPr lang="da-DK"/>
        </a:p>
      </dgm:t>
    </dgm:pt>
    <dgm:pt modelId="{E71CB147-02D6-47A9-8E47-4A097A4AE10F}">
      <dgm:prSet phldrT="[Tekst]" custT="1"/>
      <dgm:spPr/>
      <dgm:t>
        <a:bodyPr/>
        <a:lstStyle/>
        <a:p>
          <a:pPr algn="l"/>
          <a:r>
            <a:rPr lang="da-DK" sz="1100" dirty="0" smtClean="0"/>
            <a:t>DEL </a:t>
          </a:r>
          <a:r>
            <a:rPr lang="da-DK" sz="1100" dirty="0" smtClean="0">
              <a:sym typeface="Wingdings" panose="05000000000000000000" pitchFamily="2" charset="2"/>
            </a:rPr>
            <a:t>Krise/krig</a:t>
          </a:r>
          <a:endParaRPr lang="da-DK" sz="1100" dirty="0"/>
        </a:p>
      </dgm:t>
    </dgm:pt>
    <dgm:pt modelId="{34A4FD02-F901-455D-B395-CB2EEC7CC1E3}" type="parTrans" cxnId="{0A708DBD-A1D1-47F7-B672-01A7DCC1A1C7}">
      <dgm:prSet/>
      <dgm:spPr/>
      <dgm:t>
        <a:bodyPr/>
        <a:lstStyle/>
        <a:p>
          <a:endParaRPr lang="da-DK"/>
        </a:p>
      </dgm:t>
    </dgm:pt>
    <dgm:pt modelId="{1FD2D113-E6A9-48F8-AD14-4E3511D9228E}" type="sibTrans" cxnId="{0A708DBD-A1D1-47F7-B672-01A7DCC1A1C7}">
      <dgm:prSet/>
      <dgm:spPr/>
      <dgm:t>
        <a:bodyPr/>
        <a:lstStyle/>
        <a:p>
          <a:endParaRPr lang="da-DK"/>
        </a:p>
      </dgm:t>
    </dgm:pt>
    <dgm:pt modelId="{FC81402C-CF09-41EF-A621-DF4AC34DB796}">
      <dgm:prSet phldrT="[Tekst]" custT="1"/>
      <dgm:spPr/>
      <dgm:t>
        <a:bodyPr/>
        <a:lstStyle/>
        <a:p>
          <a:pPr algn="l"/>
          <a:r>
            <a:rPr lang="da-DK" sz="1100" u="sng" dirty="0" smtClean="0"/>
            <a:t>Ledelse</a:t>
          </a:r>
          <a:endParaRPr lang="da-DK" sz="1100" u="sng" dirty="0"/>
        </a:p>
      </dgm:t>
    </dgm:pt>
    <dgm:pt modelId="{8530A87E-F14B-467B-AF19-61AEC6F76C36}" type="parTrans" cxnId="{0C8C0BFF-AA47-4BF9-B3C0-EEC4A5D43685}">
      <dgm:prSet/>
      <dgm:spPr/>
      <dgm:t>
        <a:bodyPr/>
        <a:lstStyle/>
        <a:p>
          <a:endParaRPr lang="da-DK"/>
        </a:p>
      </dgm:t>
    </dgm:pt>
    <dgm:pt modelId="{3F5D2520-F4A5-4EB5-B16F-A2E28FC2ADDA}" type="sibTrans" cxnId="{0C8C0BFF-AA47-4BF9-B3C0-EEC4A5D43685}">
      <dgm:prSet/>
      <dgm:spPr/>
      <dgm:t>
        <a:bodyPr/>
        <a:lstStyle/>
        <a:p>
          <a:endParaRPr lang="da-DK"/>
        </a:p>
      </dgm:t>
    </dgm:pt>
    <dgm:pt modelId="{E68387FB-C6DA-4448-80C0-3E52B134C216}">
      <dgm:prSet phldrT="[Tekst]" custT="1"/>
      <dgm:spPr/>
      <dgm:t>
        <a:bodyPr/>
        <a:lstStyle/>
        <a:p>
          <a:pPr algn="l"/>
          <a:r>
            <a:rPr lang="da-DK" sz="1100" dirty="0" smtClean="0"/>
            <a:t>Ledelsesgrundlag i rammen af DEL</a:t>
          </a:r>
          <a:endParaRPr lang="da-DK" sz="1100" dirty="0"/>
        </a:p>
      </dgm:t>
    </dgm:pt>
    <dgm:pt modelId="{0EFD18E5-A062-448F-9AE2-A1DAFC380D78}" type="parTrans" cxnId="{DB61DC00-80C8-4A1B-BEEC-BDEBFF81E2F7}">
      <dgm:prSet/>
      <dgm:spPr/>
      <dgm:t>
        <a:bodyPr/>
        <a:lstStyle/>
        <a:p>
          <a:endParaRPr lang="da-DK"/>
        </a:p>
      </dgm:t>
    </dgm:pt>
    <dgm:pt modelId="{7DB934C0-D47E-46EC-BE17-06B0404B5663}" type="sibTrans" cxnId="{DB61DC00-80C8-4A1B-BEEC-BDEBFF81E2F7}">
      <dgm:prSet/>
      <dgm:spPr/>
      <dgm:t>
        <a:bodyPr/>
        <a:lstStyle/>
        <a:p>
          <a:endParaRPr lang="da-DK"/>
        </a:p>
      </dgm:t>
    </dgm:pt>
    <dgm:pt modelId="{3FC69CAD-E6CE-49C1-9853-A6518733D742}">
      <dgm:prSet phldrT="[Tekst]" custT="1"/>
      <dgm:spPr/>
      <dgm:t>
        <a:bodyPr/>
        <a:lstStyle/>
        <a:p>
          <a:pPr algn="l"/>
          <a:r>
            <a:rPr lang="da-DK" sz="1100" u="sng" dirty="0" smtClean="0"/>
            <a:t>Uddannelse</a:t>
          </a:r>
          <a:endParaRPr lang="da-DK" sz="1100" u="sng" dirty="0"/>
        </a:p>
      </dgm:t>
    </dgm:pt>
    <dgm:pt modelId="{F4D5121E-3F6F-4D07-8DA9-7591AEFB7F05}" type="parTrans" cxnId="{78916AD5-6053-4B2F-8004-2C3443F73E45}">
      <dgm:prSet/>
      <dgm:spPr/>
      <dgm:t>
        <a:bodyPr/>
        <a:lstStyle/>
        <a:p>
          <a:endParaRPr lang="da-DK"/>
        </a:p>
      </dgm:t>
    </dgm:pt>
    <dgm:pt modelId="{B9E1923F-8ABB-4BF3-944C-C561A9A00D08}" type="sibTrans" cxnId="{78916AD5-6053-4B2F-8004-2C3443F73E45}">
      <dgm:prSet/>
      <dgm:spPr/>
      <dgm:t>
        <a:bodyPr/>
        <a:lstStyle/>
        <a:p>
          <a:endParaRPr lang="da-DK"/>
        </a:p>
      </dgm:t>
    </dgm:pt>
    <dgm:pt modelId="{7D42D557-3871-4643-AA33-CDC834252D3F}">
      <dgm:prSet phldrT="[Tekst]" custT="1"/>
      <dgm:spPr/>
      <dgm:t>
        <a:bodyPr/>
        <a:lstStyle/>
        <a:p>
          <a:pPr algn="l"/>
          <a:r>
            <a:rPr lang="da-DK" sz="1100" u="none" dirty="0" smtClean="0"/>
            <a:t>OSU</a:t>
          </a:r>
          <a:endParaRPr lang="da-DK" sz="1100" u="none" dirty="0"/>
        </a:p>
      </dgm:t>
    </dgm:pt>
    <dgm:pt modelId="{6847641F-42AA-424F-9938-DD64C350C592}" type="parTrans" cxnId="{7C697779-B294-46BD-904D-E02670906785}">
      <dgm:prSet/>
      <dgm:spPr/>
      <dgm:t>
        <a:bodyPr/>
        <a:lstStyle/>
        <a:p>
          <a:endParaRPr lang="da-DK"/>
        </a:p>
      </dgm:t>
    </dgm:pt>
    <dgm:pt modelId="{1F441A91-60F2-4B63-9384-F5595790FECE}" type="sibTrans" cxnId="{7C697779-B294-46BD-904D-E02670906785}">
      <dgm:prSet/>
      <dgm:spPr/>
      <dgm:t>
        <a:bodyPr/>
        <a:lstStyle/>
        <a:p>
          <a:endParaRPr lang="da-DK"/>
        </a:p>
      </dgm:t>
    </dgm:pt>
    <dgm:pt modelId="{58915889-04EE-443C-B608-15BF9BE5625C}">
      <dgm:prSet phldrT="[Tekst]" custT="1"/>
      <dgm:spPr/>
      <dgm:t>
        <a:bodyPr/>
        <a:lstStyle/>
        <a:p>
          <a:pPr algn="l"/>
          <a:r>
            <a:rPr lang="da-DK" sz="1100" u="none" dirty="0" smtClean="0"/>
            <a:t>MAU</a:t>
          </a:r>
          <a:endParaRPr lang="da-DK" sz="1100" u="none" dirty="0"/>
        </a:p>
      </dgm:t>
    </dgm:pt>
    <dgm:pt modelId="{CD130890-BE7E-42E8-9D3C-A75B9D2929E6}" type="parTrans" cxnId="{82DCBBFD-7866-4912-8AD7-425E8E7B1DF1}">
      <dgm:prSet/>
      <dgm:spPr/>
      <dgm:t>
        <a:bodyPr/>
        <a:lstStyle/>
        <a:p>
          <a:endParaRPr lang="da-DK"/>
        </a:p>
      </dgm:t>
    </dgm:pt>
    <dgm:pt modelId="{5DC6A5D9-197F-4C98-9D09-DFFC42E0C980}" type="sibTrans" cxnId="{82DCBBFD-7866-4912-8AD7-425E8E7B1DF1}">
      <dgm:prSet/>
      <dgm:spPr/>
      <dgm:t>
        <a:bodyPr/>
        <a:lstStyle/>
        <a:p>
          <a:endParaRPr lang="da-DK"/>
        </a:p>
      </dgm:t>
    </dgm:pt>
    <dgm:pt modelId="{2DF5845F-E145-43F2-A171-DC10421FC9A3}">
      <dgm:prSet phldrT="[Tekst]"/>
      <dgm:spPr/>
      <dgm:t>
        <a:bodyPr/>
        <a:lstStyle/>
        <a:p>
          <a:pPr algn="ctr"/>
          <a:r>
            <a:rPr lang="da-DK" sz="1400" b="1" dirty="0" smtClean="0"/>
            <a:t>Seniorsergent</a:t>
          </a:r>
          <a:endParaRPr lang="da-DK" sz="1400" dirty="0"/>
        </a:p>
      </dgm:t>
    </dgm:pt>
    <dgm:pt modelId="{3B1AB83F-5649-4D3D-B001-46BDB2C109FC}" type="parTrans" cxnId="{6FF73411-CFD3-4628-B784-585D94C687F0}">
      <dgm:prSet/>
      <dgm:spPr/>
      <dgm:t>
        <a:bodyPr/>
        <a:lstStyle/>
        <a:p>
          <a:endParaRPr lang="da-DK"/>
        </a:p>
      </dgm:t>
    </dgm:pt>
    <dgm:pt modelId="{EDD4BEE3-4CCE-4620-B6D6-B9CF0BD1A119}" type="sibTrans" cxnId="{6FF73411-CFD3-4628-B784-585D94C687F0}">
      <dgm:prSet/>
      <dgm:spPr/>
      <dgm:t>
        <a:bodyPr/>
        <a:lstStyle/>
        <a:p>
          <a:endParaRPr lang="da-DK"/>
        </a:p>
      </dgm:t>
    </dgm:pt>
    <dgm:pt modelId="{74FA0E9D-45D5-4B5F-A9E4-12C5FFC3C7B5}">
      <dgm:prSet phldrT="[Tekst]" custT="1"/>
      <dgm:spPr/>
      <dgm:t>
        <a:bodyPr/>
        <a:lstStyle/>
        <a:p>
          <a:pPr algn="l"/>
          <a:r>
            <a:rPr lang="da-DK" sz="1100" u="sng" dirty="0" smtClean="0"/>
            <a:t>Føring</a:t>
          </a:r>
          <a:endParaRPr lang="da-DK" sz="1100" u="sng" dirty="0"/>
        </a:p>
      </dgm:t>
    </dgm:pt>
    <dgm:pt modelId="{54B6F8D8-7C97-4D56-A9FD-BE3AEE6403B5}" type="sibTrans" cxnId="{E9A990D6-B3B3-4537-B099-6831BDA47DD3}">
      <dgm:prSet/>
      <dgm:spPr/>
      <dgm:t>
        <a:bodyPr/>
        <a:lstStyle/>
        <a:p>
          <a:endParaRPr lang="da-DK"/>
        </a:p>
      </dgm:t>
    </dgm:pt>
    <dgm:pt modelId="{0814A70A-2389-4816-B786-4BFB9A928150}" type="parTrans" cxnId="{E9A990D6-B3B3-4537-B099-6831BDA47DD3}">
      <dgm:prSet/>
      <dgm:spPr/>
      <dgm:t>
        <a:bodyPr/>
        <a:lstStyle/>
        <a:p>
          <a:endParaRPr lang="da-DK"/>
        </a:p>
      </dgm:t>
    </dgm:pt>
    <dgm:pt modelId="{BB2D715F-0DD4-4211-8F36-8E75FADCA7C1}">
      <dgm:prSet phldrT="[Tekst]" custT="1"/>
      <dgm:spPr/>
      <dgm:t>
        <a:bodyPr/>
        <a:lstStyle/>
        <a:p>
          <a:pPr algn="l"/>
          <a:r>
            <a:rPr lang="da-DK" sz="1100" u="none" dirty="0" smtClean="0"/>
            <a:t>LAM</a:t>
          </a:r>
          <a:endParaRPr lang="da-DK" sz="1100" u="none" dirty="0"/>
        </a:p>
      </dgm:t>
    </dgm:pt>
    <dgm:pt modelId="{2C243CF7-BDE0-4470-A588-682B07439C66}" type="parTrans" cxnId="{3ADDFF99-C9AB-4BF8-8F3A-15BEDF479E1B}">
      <dgm:prSet/>
      <dgm:spPr/>
      <dgm:t>
        <a:bodyPr/>
        <a:lstStyle/>
        <a:p>
          <a:endParaRPr lang="da-DK"/>
        </a:p>
      </dgm:t>
    </dgm:pt>
    <dgm:pt modelId="{C941CBE5-7B6D-49E7-A0AF-76EB03E05C51}" type="sibTrans" cxnId="{3ADDFF99-C9AB-4BF8-8F3A-15BEDF479E1B}">
      <dgm:prSet/>
      <dgm:spPr/>
      <dgm:t>
        <a:bodyPr/>
        <a:lstStyle/>
        <a:p>
          <a:endParaRPr lang="da-DK"/>
        </a:p>
      </dgm:t>
    </dgm:pt>
    <dgm:pt modelId="{3E357DCC-4152-4696-B602-7C9E31B1FBEE}">
      <dgm:prSet phldrT="[Tekst]" custT="1"/>
      <dgm:spPr/>
      <dgm:t>
        <a:bodyPr/>
        <a:lstStyle/>
        <a:p>
          <a:pPr algn="l"/>
          <a:r>
            <a:rPr lang="da-DK" sz="1100" u="none" dirty="0" smtClean="0"/>
            <a:t>GTH</a:t>
          </a:r>
          <a:endParaRPr lang="da-DK" sz="1100" u="none" dirty="0"/>
        </a:p>
      </dgm:t>
    </dgm:pt>
    <dgm:pt modelId="{F7B90A04-DA04-4028-B3AB-1978E02A23F5}" type="parTrans" cxnId="{5A4E030E-2015-469E-A31D-8A865F70BC7D}">
      <dgm:prSet/>
      <dgm:spPr/>
      <dgm:t>
        <a:bodyPr/>
        <a:lstStyle/>
        <a:p>
          <a:endParaRPr lang="da-DK"/>
        </a:p>
      </dgm:t>
    </dgm:pt>
    <dgm:pt modelId="{39B1F9F9-FE04-496B-87A1-440AFC56820C}" type="sibTrans" cxnId="{5A4E030E-2015-469E-A31D-8A865F70BC7D}">
      <dgm:prSet/>
      <dgm:spPr/>
      <dgm:t>
        <a:bodyPr/>
        <a:lstStyle/>
        <a:p>
          <a:endParaRPr lang="da-DK"/>
        </a:p>
      </dgm:t>
    </dgm:pt>
    <dgm:pt modelId="{C463BEA7-C2FC-402B-85FE-56EEB9D0267C}">
      <dgm:prSet phldrT="[Tekst]" custT="1"/>
      <dgm:spPr/>
      <dgm:t>
        <a:bodyPr/>
        <a:lstStyle/>
        <a:p>
          <a:r>
            <a:rPr lang="da-DK" sz="1100" u="sng" dirty="0" smtClean="0"/>
            <a:t>Føring</a:t>
          </a:r>
          <a:endParaRPr lang="da-DK" sz="1100" dirty="0"/>
        </a:p>
      </dgm:t>
    </dgm:pt>
    <dgm:pt modelId="{DEF31CB2-BD7E-4397-AEF5-B5F61647E2DE}" type="parTrans" cxnId="{44E6494D-F3A9-4708-B4D2-E148D61BA520}">
      <dgm:prSet/>
      <dgm:spPr/>
      <dgm:t>
        <a:bodyPr/>
        <a:lstStyle/>
        <a:p>
          <a:endParaRPr lang="da-DK"/>
        </a:p>
      </dgm:t>
    </dgm:pt>
    <dgm:pt modelId="{D7B61385-E475-4C53-BD40-8AA95128C69C}" type="sibTrans" cxnId="{44E6494D-F3A9-4708-B4D2-E148D61BA520}">
      <dgm:prSet/>
      <dgm:spPr/>
      <dgm:t>
        <a:bodyPr/>
        <a:lstStyle/>
        <a:p>
          <a:endParaRPr lang="da-DK"/>
        </a:p>
      </dgm:t>
    </dgm:pt>
    <dgm:pt modelId="{BEF2B3A1-E00D-4B9C-8797-0B85C3E49941}">
      <dgm:prSet custT="1"/>
      <dgm:spPr/>
      <dgm:t>
        <a:bodyPr/>
        <a:lstStyle/>
        <a:p>
          <a:r>
            <a:rPr lang="da-DK" sz="1100" dirty="0" smtClean="0"/>
            <a:t>AFD </a:t>
          </a:r>
          <a:r>
            <a:rPr lang="da-DK" sz="1100" dirty="0" smtClean="0">
              <a:sym typeface="Wingdings" panose="05000000000000000000" pitchFamily="2" charset="2"/>
            </a:rPr>
            <a:t> Krise/krig</a:t>
          </a:r>
          <a:endParaRPr lang="da-DK" sz="1100" dirty="0" smtClean="0"/>
        </a:p>
      </dgm:t>
    </dgm:pt>
    <dgm:pt modelId="{32002A0C-B4BA-40D4-A75C-75047110DF12}" type="parTrans" cxnId="{975F1EC2-99C0-4F33-B978-820763105B9D}">
      <dgm:prSet/>
      <dgm:spPr/>
      <dgm:t>
        <a:bodyPr/>
        <a:lstStyle/>
        <a:p>
          <a:endParaRPr lang="da-DK"/>
        </a:p>
      </dgm:t>
    </dgm:pt>
    <dgm:pt modelId="{E93D6EF1-0D9B-4E43-94DD-E00E0A495E4E}" type="sibTrans" cxnId="{975F1EC2-99C0-4F33-B978-820763105B9D}">
      <dgm:prSet/>
      <dgm:spPr/>
      <dgm:t>
        <a:bodyPr/>
        <a:lstStyle/>
        <a:p>
          <a:endParaRPr lang="da-DK"/>
        </a:p>
      </dgm:t>
    </dgm:pt>
    <dgm:pt modelId="{8D00209A-8093-4F5C-8E51-2A1F92A186FA}">
      <dgm:prSet custT="1"/>
      <dgm:spPr/>
      <dgm:t>
        <a:bodyPr/>
        <a:lstStyle/>
        <a:p>
          <a:r>
            <a:rPr lang="da-DK" sz="1100" u="sng" dirty="0" smtClean="0"/>
            <a:t>Ledelse</a:t>
          </a:r>
        </a:p>
      </dgm:t>
    </dgm:pt>
    <dgm:pt modelId="{37B985CC-7BC3-4B48-A283-E06058F6694E}" type="parTrans" cxnId="{03058C8E-1A15-4EC1-8E23-8D3A4536ABE8}">
      <dgm:prSet/>
      <dgm:spPr/>
      <dgm:t>
        <a:bodyPr/>
        <a:lstStyle/>
        <a:p>
          <a:endParaRPr lang="da-DK"/>
        </a:p>
      </dgm:t>
    </dgm:pt>
    <dgm:pt modelId="{65D474AC-0ECA-4187-A6ED-510A4DE8022A}" type="sibTrans" cxnId="{03058C8E-1A15-4EC1-8E23-8D3A4536ABE8}">
      <dgm:prSet/>
      <dgm:spPr/>
      <dgm:t>
        <a:bodyPr/>
        <a:lstStyle/>
        <a:p>
          <a:endParaRPr lang="da-DK"/>
        </a:p>
      </dgm:t>
    </dgm:pt>
    <dgm:pt modelId="{640D3587-9577-4522-8432-B0497F466F4C}">
      <dgm:prSet custT="1"/>
      <dgm:spPr/>
      <dgm:t>
        <a:bodyPr/>
        <a:lstStyle/>
        <a:p>
          <a:r>
            <a:rPr lang="da-DK" sz="1100" dirty="0" smtClean="0"/>
            <a:t>Ledelsesgrundlag i rammen af AFD</a:t>
          </a:r>
        </a:p>
      </dgm:t>
    </dgm:pt>
    <dgm:pt modelId="{F75BBFB0-6206-419A-BA42-2FAB6189CE7A}" type="parTrans" cxnId="{CAA6DDD8-11F8-4DED-83F4-E2786F39DA19}">
      <dgm:prSet/>
      <dgm:spPr/>
      <dgm:t>
        <a:bodyPr/>
        <a:lstStyle/>
        <a:p>
          <a:endParaRPr lang="da-DK"/>
        </a:p>
      </dgm:t>
    </dgm:pt>
    <dgm:pt modelId="{AB4DA07F-B7D7-449C-8ADD-481DA45614ED}" type="sibTrans" cxnId="{CAA6DDD8-11F8-4DED-83F4-E2786F39DA19}">
      <dgm:prSet/>
      <dgm:spPr/>
      <dgm:t>
        <a:bodyPr/>
        <a:lstStyle/>
        <a:p>
          <a:endParaRPr lang="da-DK"/>
        </a:p>
      </dgm:t>
    </dgm:pt>
    <dgm:pt modelId="{977E2843-9D92-4FBA-9B6E-3A263926A6FD}">
      <dgm:prSet custT="1"/>
      <dgm:spPr/>
      <dgm:t>
        <a:bodyPr/>
        <a:lstStyle/>
        <a:p>
          <a:r>
            <a:rPr lang="da-DK" sz="1100" u="sng" dirty="0" smtClean="0"/>
            <a:t>Uddannelse</a:t>
          </a:r>
        </a:p>
      </dgm:t>
    </dgm:pt>
    <dgm:pt modelId="{874A9310-713E-42B7-A63D-64176798141A}" type="parTrans" cxnId="{83088CB5-5B5E-42B8-9ADC-CEB66DCC29BA}">
      <dgm:prSet/>
      <dgm:spPr/>
      <dgm:t>
        <a:bodyPr/>
        <a:lstStyle/>
        <a:p>
          <a:endParaRPr lang="da-DK"/>
        </a:p>
      </dgm:t>
    </dgm:pt>
    <dgm:pt modelId="{B992C93F-5B5C-4BE4-83F4-87BE2104AD91}" type="sibTrans" cxnId="{83088CB5-5B5E-42B8-9ADC-CEB66DCC29BA}">
      <dgm:prSet/>
      <dgm:spPr/>
      <dgm:t>
        <a:bodyPr/>
        <a:lstStyle/>
        <a:p>
          <a:endParaRPr lang="da-DK"/>
        </a:p>
      </dgm:t>
    </dgm:pt>
    <dgm:pt modelId="{B22932C7-D53B-4789-AE91-6313DBB47A24}">
      <dgm:prSet custT="1"/>
      <dgm:spPr/>
      <dgm:t>
        <a:bodyPr/>
        <a:lstStyle/>
        <a:p>
          <a:r>
            <a:rPr lang="da-DK" sz="1100" u="none" dirty="0" smtClean="0"/>
            <a:t>Yderligere </a:t>
          </a:r>
          <a:r>
            <a:rPr lang="da-DK" sz="1100" u="none" dirty="0" err="1" smtClean="0"/>
            <a:t>spec</a:t>
          </a:r>
          <a:r>
            <a:rPr lang="da-DK" sz="1100" u="none" dirty="0" smtClean="0"/>
            <a:t>.</a:t>
          </a:r>
        </a:p>
      </dgm:t>
    </dgm:pt>
    <dgm:pt modelId="{92FDF0D7-C40D-44E9-80DE-425955535223}" type="parTrans" cxnId="{590695BC-4A05-4441-8C89-4BC5DAE7E405}">
      <dgm:prSet/>
      <dgm:spPr/>
      <dgm:t>
        <a:bodyPr/>
        <a:lstStyle/>
        <a:p>
          <a:endParaRPr lang="da-DK"/>
        </a:p>
      </dgm:t>
    </dgm:pt>
    <dgm:pt modelId="{A6E9743A-F249-4CD7-AE4D-42055D7C897B}" type="sibTrans" cxnId="{590695BC-4A05-4441-8C89-4BC5DAE7E405}">
      <dgm:prSet/>
      <dgm:spPr/>
      <dgm:t>
        <a:bodyPr/>
        <a:lstStyle/>
        <a:p>
          <a:endParaRPr lang="da-DK"/>
        </a:p>
      </dgm:t>
    </dgm:pt>
    <dgm:pt modelId="{18A820E3-4BCE-4670-BE27-C193C38E95DA}">
      <dgm:prSet custT="1"/>
      <dgm:spPr/>
      <dgm:t>
        <a:bodyPr/>
        <a:lstStyle/>
        <a:p>
          <a:r>
            <a:rPr lang="da-DK" sz="1100" u="none" dirty="0" smtClean="0"/>
            <a:t>MAU</a:t>
          </a:r>
        </a:p>
      </dgm:t>
    </dgm:pt>
    <dgm:pt modelId="{F514A5A7-60F3-4CA4-AFAE-E1BE5ACBAEA0}" type="parTrans" cxnId="{4EF1AA4E-66F3-45C8-BA6B-9661EC76D74A}">
      <dgm:prSet/>
      <dgm:spPr/>
      <dgm:t>
        <a:bodyPr/>
        <a:lstStyle/>
        <a:p>
          <a:endParaRPr lang="da-DK"/>
        </a:p>
      </dgm:t>
    </dgm:pt>
    <dgm:pt modelId="{8F4BCCC3-802C-4910-A82A-C6AF365E8827}" type="sibTrans" cxnId="{4EF1AA4E-66F3-45C8-BA6B-9661EC76D74A}">
      <dgm:prSet/>
      <dgm:spPr/>
      <dgm:t>
        <a:bodyPr/>
        <a:lstStyle/>
        <a:p>
          <a:endParaRPr lang="da-DK"/>
        </a:p>
      </dgm:t>
    </dgm:pt>
    <dgm:pt modelId="{FC8A929F-3A33-42E2-B59F-C8F020D08D90}">
      <dgm:prSet custT="1"/>
      <dgm:spPr/>
      <dgm:t>
        <a:bodyPr/>
        <a:lstStyle/>
        <a:p>
          <a:r>
            <a:rPr lang="da-DK" sz="1100" u="none" dirty="0" smtClean="0"/>
            <a:t>NIV-6 UDD</a:t>
          </a:r>
        </a:p>
      </dgm:t>
    </dgm:pt>
    <dgm:pt modelId="{C1783CF4-408D-4BE7-A8FC-D4624C00C80E}" type="parTrans" cxnId="{AC0DC033-1516-4C60-A06D-E32AFEACF640}">
      <dgm:prSet/>
      <dgm:spPr/>
      <dgm:t>
        <a:bodyPr/>
        <a:lstStyle/>
        <a:p>
          <a:endParaRPr lang="da-DK"/>
        </a:p>
      </dgm:t>
    </dgm:pt>
    <dgm:pt modelId="{641CE110-C7C5-490E-9384-2FC33AF62E59}" type="sibTrans" cxnId="{AC0DC033-1516-4C60-A06D-E32AFEACF640}">
      <dgm:prSet/>
      <dgm:spPr/>
      <dgm:t>
        <a:bodyPr/>
        <a:lstStyle/>
        <a:p>
          <a:endParaRPr lang="da-DK"/>
        </a:p>
      </dgm:t>
    </dgm:pt>
    <dgm:pt modelId="{098C3EF2-85A1-4976-8F2D-71EC6938C586}">
      <dgm:prSet custT="1"/>
      <dgm:spPr/>
      <dgm:t>
        <a:bodyPr/>
        <a:lstStyle/>
        <a:p>
          <a:r>
            <a:rPr lang="da-DK" sz="1100" u="none" dirty="0" smtClean="0"/>
            <a:t>NATO KUR</a:t>
          </a:r>
          <a:endParaRPr lang="da-DK" sz="1100" dirty="0"/>
        </a:p>
      </dgm:t>
    </dgm:pt>
    <dgm:pt modelId="{A983315E-C933-424E-BA86-F260E2D8308E}" type="parTrans" cxnId="{E1D55C7F-3251-4060-B0E9-133B104AB1A1}">
      <dgm:prSet/>
      <dgm:spPr/>
      <dgm:t>
        <a:bodyPr/>
        <a:lstStyle/>
        <a:p>
          <a:endParaRPr lang="da-DK"/>
        </a:p>
      </dgm:t>
    </dgm:pt>
    <dgm:pt modelId="{C860949A-12C1-42F0-B63D-DD65AD9235CE}" type="sibTrans" cxnId="{E1D55C7F-3251-4060-B0E9-133B104AB1A1}">
      <dgm:prSet/>
      <dgm:spPr/>
      <dgm:t>
        <a:bodyPr/>
        <a:lstStyle/>
        <a:p>
          <a:endParaRPr lang="da-DK"/>
        </a:p>
      </dgm:t>
    </dgm:pt>
    <dgm:pt modelId="{25A4F657-092F-4036-94AF-5793CB4606E7}">
      <dgm:prSet custT="1"/>
      <dgm:spPr/>
      <dgm:t>
        <a:bodyPr/>
        <a:lstStyle/>
        <a:p>
          <a:r>
            <a:rPr lang="da-DK" sz="1100" dirty="0" smtClean="0"/>
            <a:t>CT UDD</a:t>
          </a:r>
        </a:p>
      </dgm:t>
    </dgm:pt>
    <dgm:pt modelId="{FFBACCC3-693B-4F66-96E6-AAFAEF718BFF}" type="parTrans" cxnId="{96374C47-2375-47B4-AE1C-AA8471E65A22}">
      <dgm:prSet/>
      <dgm:spPr/>
      <dgm:t>
        <a:bodyPr/>
        <a:lstStyle/>
        <a:p>
          <a:endParaRPr lang="da-DK"/>
        </a:p>
      </dgm:t>
    </dgm:pt>
    <dgm:pt modelId="{C93BA523-DC3B-43A9-BED6-55FB68AE7845}" type="sibTrans" cxnId="{96374C47-2375-47B4-AE1C-AA8471E65A22}">
      <dgm:prSet/>
      <dgm:spPr/>
      <dgm:t>
        <a:bodyPr/>
        <a:lstStyle/>
        <a:p>
          <a:endParaRPr lang="da-DK"/>
        </a:p>
      </dgm:t>
    </dgm:pt>
    <dgm:pt modelId="{0441ADB8-506F-44BE-984F-1B432065574A}">
      <dgm:prSet phldrT="[Tekst]" custT="1"/>
      <dgm:spPr/>
      <dgm:t>
        <a:bodyPr/>
        <a:lstStyle/>
        <a:p>
          <a:pPr algn="l"/>
          <a:r>
            <a:rPr lang="da-DK" sz="1100" u="sng" dirty="0" smtClean="0"/>
            <a:t>Føring</a:t>
          </a:r>
          <a:endParaRPr lang="da-DK" sz="1100" u="sng" dirty="0"/>
        </a:p>
      </dgm:t>
    </dgm:pt>
    <dgm:pt modelId="{52FC6422-8CDB-4552-B434-22C90A11A026}" type="parTrans" cxnId="{09F8D4C2-CE8E-43A1-B9D6-EB1314097A26}">
      <dgm:prSet/>
      <dgm:spPr/>
      <dgm:t>
        <a:bodyPr/>
        <a:lstStyle/>
        <a:p>
          <a:endParaRPr lang="da-DK"/>
        </a:p>
      </dgm:t>
    </dgm:pt>
    <dgm:pt modelId="{A92B97FC-73BA-4A45-BE8C-12C8825E4464}" type="sibTrans" cxnId="{09F8D4C2-CE8E-43A1-B9D6-EB1314097A26}">
      <dgm:prSet/>
      <dgm:spPr/>
      <dgm:t>
        <a:bodyPr/>
        <a:lstStyle/>
        <a:p>
          <a:endParaRPr lang="da-DK"/>
        </a:p>
      </dgm:t>
    </dgm:pt>
    <dgm:pt modelId="{89DC0469-FF1B-4FAC-A926-95EC8B163908}">
      <dgm:prSet phldrT="[Tekst]" custT="1"/>
      <dgm:spPr/>
      <dgm:t>
        <a:bodyPr/>
        <a:lstStyle/>
        <a:p>
          <a:pPr algn="l"/>
          <a:r>
            <a:rPr lang="da-DK" sz="1100" u="sng" dirty="0" smtClean="0"/>
            <a:t>Ledelse</a:t>
          </a:r>
          <a:endParaRPr lang="da-DK" sz="1100" u="sng" dirty="0"/>
        </a:p>
      </dgm:t>
    </dgm:pt>
    <dgm:pt modelId="{29D4572C-41B5-4C03-A925-650E758756B5}" type="parTrans" cxnId="{FC5719D6-5F13-477F-9B84-AC7F4D5388AB}">
      <dgm:prSet/>
      <dgm:spPr/>
      <dgm:t>
        <a:bodyPr/>
        <a:lstStyle/>
        <a:p>
          <a:endParaRPr lang="da-DK"/>
        </a:p>
      </dgm:t>
    </dgm:pt>
    <dgm:pt modelId="{9FA04664-747D-4249-92CE-61E838EB6FDA}" type="sibTrans" cxnId="{FC5719D6-5F13-477F-9B84-AC7F4D5388AB}">
      <dgm:prSet/>
      <dgm:spPr/>
      <dgm:t>
        <a:bodyPr/>
        <a:lstStyle/>
        <a:p>
          <a:endParaRPr lang="da-DK"/>
        </a:p>
      </dgm:t>
    </dgm:pt>
    <dgm:pt modelId="{9C9A146F-E245-41A6-AAF1-AE2D6F21A779}">
      <dgm:prSet phldrT="[Tekst]" custT="1"/>
      <dgm:spPr/>
      <dgm:t>
        <a:bodyPr/>
        <a:lstStyle/>
        <a:p>
          <a:pPr algn="l"/>
          <a:r>
            <a:rPr lang="da-DK" sz="1100" u="sng" dirty="0" smtClean="0"/>
            <a:t>Uddannelse</a:t>
          </a:r>
          <a:endParaRPr lang="da-DK" sz="1100" u="sng" dirty="0"/>
        </a:p>
      </dgm:t>
    </dgm:pt>
    <dgm:pt modelId="{F3B809F1-8064-4098-B585-271001B5D690}" type="parTrans" cxnId="{1C05FC75-3288-4502-B9D0-6578A67BEA6C}">
      <dgm:prSet/>
      <dgm:spPr/>
      <dgm:t>
        <a:bodyPr/>
        <a:lstStyle/>
        <a:p>
          <a:endParaRPr lang="da-DK"/>
        </a:p>
      </dgm:t>
    </dgm:pt>
    <dgm:pt modelId="{1CD2FC81-83AB-4E2C-91F9-C39FF5D4537C}" type="sibTrans" cxnId="{1C05FC75-3288-4502-B9D0-6578A67BEA6C}">
      <dgm:prSet/>
      <dgm:spPr/>
      <dgm:t>
        <a:bodyPr/>
        <a:lstStyle/>
        <a:p>
          <a:endParaRPr lang="da-DK"/>
        </a:p>
      </dgm:t>
    </dgm:pt>
    <dgm:pt modelId="{6D93A495-6BB7-4143-9254-9282478C6555}">
      <dgm:prSet phldrT="[Tekst]" custT="1"/>
      <dgm:spPr/>
      <dgm:t>
        <a:bodyPr/>
        <a:lstStyle/>
        <a:p>
          <a:pPr algn="l"/>
          <a:r>
            <a:rPr lang="da-DK" sz="1100" u="none" dirty="0" smtClean="0"/>
            <a:t>KMP </a:t>
          </a:r>
          <a:r>
            <a:rPr lang="da-DK" sz="1100" u="none" dirty="0" smtClean="0">
              <a:sym typeface="Wingdings" panose="05000000000000000000" pitchFamily="2" charset="2"/>
            </a:rPr>
            <a:t>Krise/krig</a:t>
          </a:r>
          <a:endParaRPr lang="da-DK" sz="1100" u="none" dirty="0"/>
        </a:p>
      </dgm:t>
    </dgm:pt>
    <dgm:pt modelId="{85DBC4BD-786C-4881-B14C-DC39ADE39E6F}" type="parTrans" cxnId="{4D4E9315-CD10-440E-A8AD-4D6F3C80C7C5}">
      <dgm:prSet/>
      <dgm:spPr/>
      <dgm:t>
        <a:bodyPr/>
        <a:lstStyle/>
        <a:p>
          <a:endParaRPr lang="da-DK"/>
        </a:p>
      </dgm:t>
    </dgm:pt>
    <dgm:pt modelId="{212AA880-0C7F-4904-B587-41D2637AC975}" type="sibTrans" cxnId="{4D4E9315-CD10-440E-A8AD-4D6F3C80C7C5}">
      <dgm:prSet/>
      <dgm:spPr/>
      <dgm:t>
        <a:bodyPr/>
        <a:lstStyle/>
        <a:p>
          <a:endParaRPr lang="da-DK"/>
        </a:p>
      </dgm:t>
    </dgm:pt>
    <dgm:pt modelId="{4EC1CB67-17A7-4934-9A72-6567BE5AE5F9}">
      <dgm:prSet phldrT="[Tekst]" custT="1"/>
      <dgm:spPr/>
      <dgm:t>
        <a:bodyPr/>
        <a:lstStyle/>
        <a:p>
          <a:pPr algn="l"/>
          <a:r>
            <a:rPr lang="da-DK" sz="1100" u="none" dirty="0" smtClean="0"/>
            <a:t>Ledelsesgrundlag o rammen af KMP</a:t>
          </a:r>
          <a:endParaRPr lang="da-DK" sz="1100" u="none" dirty="0"/>
        </a:p>
      </dgm:t>
    </dgm:pt>
    <dgm:pt modelId="{21100385-A4DF-4C8C-B3CF-B90B4B247726}" type="parTrans" cxnId="{C63C0070-C982-4C75-B3E6-660854215D07}">
      <dgm:prSet/>
      <dgm:spPr/>
      <dgm:t>
        <a:bodyPr/>
        <a:lstStyle/>
        <a:p>
          <a:endParaRPr lang="da-DK"/>
        </a:p>
      </dgm:t>
    </dgm:pt>
    <dgm:pt modelId="{16601636-B7A9-4EEB-B1CB-B9C63B8CB19E}" type="sibTrans" cxnId="{C63C0070-C982-4C75-B3E6-660854215D07}">
      <dgm:prSet/>
      <dgm:spPr/>
      <dgm:t>
        <a:bodyPr/>
        <a:lstStyle/>
        <a:p>
          <a:endParaRPr lang="da-DK"/>
        </a:p>
      </dgm:t>
    </dgm:pt>
    <dgm:pt modelId="{64527FB9-44F0-4585-9B08-FE896F421C2A}">
      <dgm:prSet phldrT="[Tekst]" custT="1"/>
      <dgm:spPr/>
      <dgm:t>
        <a:bodyPr/>
        <a:lstStyle/>
        <a:p>
          <a:pPr algn="l"/>
          <a:r>
            <a:rPr lang="da-DK" sz="1100" u="none" dirty="0" smtClean="0"/>
            <a:t>Specialisering</a:t>
          </a:r>
          <a:endParaRPr lang="da-DK" sz="1100" u="none" dirty="0"/>
        </a:p>
      </dgm:t>
    </dgm:pt>
    <dgm:pt modelId="{D00FC479-958C-469A-837B-6D1B839B8422}" type="parTrans" cxnId="{82AFFA8A-EC2B-43BA-A389-AD1C9A62D2C9}">
      <dgm:prSet/>
      <dgm:spPr/>
      <dgm:t>
        <a:bodyPr/>
        <a:lstStyle/>
        <a:p>
          <a:endParaRPr lang="da-DK"/>
        </a:p>
      </dgm:t>
    </dgm:pt>
    <dgm:pt modelId="{631F96C7-FBCB-4087-B703-4CD9727513F3}" type="sibTrans" cxnId="{82AFFA8A-EC2B-43BA-A389-AD1C9A62D2C9}">
      <dgm:prSet/>
      <dgm:spPr/>
      <dgm:t>
        <a:bodyPr/>
        <a:lstStyle/>
        <a:p>
          <a:endParaRPr lang="da-DK"/>
        </a:p>
      </dgm:t>
    </dgm:pt>
    <dgm:pt modelId="{C46FDCF1-4567-4B3D-A8AF-164B436BFD87}">
      <dgm:prSet phldrT="[Tekst]" custT="1"/>
      <dgm:spPr/>
      <dgm:t>
        <a:bodyPr/>
        <a:lstStyle/>
        <a:p>
          <a:pPr algn="l"/>
          <a:r>
            <a:rPr lang="da-DK" sz="1100" u="none" dirty="0" smtClean="0"/>
            <a:t>MAU</a:t>
          </a:r>
          <a:endParaRPr lang="da-DK" sz="1100" u="none" dirty="0"/>
        </a:p>
      </dgm:t>
    </dgm:pt>
    <dgm:pt modelId="{DDFF8A45-6189-4862-9898-208024006BA2}" type="parTrans" cxnId="{F7499F37-48C5-4F79-AAF5-285C8351993B}">
      <dgm:prSet/>
      <dgm:spPr/>
      <dgm:t>
        <a:bodyPr/>
        <a:lstStyle/>
        <a:p>
          <a:endParaRPr lang="da-DK"/>
        </a:p>
      </dgm:t>
    </dgm:pt>
    <dgm:pt modelId="{F66B7FE6-D674-4957-AB1E-356725EED13D}" type="sibTrans" cxnId="{F7499F37-48C5-4F79-AAF5-285C8351993B}">
      <dgm:prSet/>
      <dgm:spPr/>
      <dgm:t>
        <a:bodyPr/>
        <a:lstStyle/>
        <a:p>
          <a:endParaRPr lang="da-DK"/>
        </a:p>
      </dgm:t>
    </dgm:pt>
    <dgm:pt modelId="{A919325A-E2C5-462A-A199-F3BE26F5D32A}">
      <dgm:prSet phldrT="[Tekst]" custT="1"/>
      <dgm:spPr/>
      <dgm:t>
        <a:bodyPr/>
        <a:lstStyle/>
        <a:p>
          <a:pPr algn="l"/>
          <a:r>
            <a:rPr lang="da-DK" sz="1100" u="none" dirty="0" smtClean="0"/>
            <a:t>CT UDD</a:t>
          </a:r>
          <a:endParaRPr lang="da-DK" sz="1100" u="none" dirty="0"/>
        </a:p>
      </dgm:t>
    </dgm:pt>
    <dgm:pt modelId="{2F40F05C-0120-45FA-B2ED-267D7B0FA6BA}" type="parTrans" cxnId="{F0CAD3A4-72CE-492A-B1F9-C5AEC7FDFF48}">
      <dgm:prSet/>
      <dgm:spPr/>
      <dgm:t>
        <a:bodyPr/>
        <a:lstStyle/>
        <a:p>
          <a:endParaRPr lang="da-DK"/>
        </a:p>
      </dgm:t>
    </dgm:pt>
    <dgm:pt modelId="{76BF6EA6-DFB1-4807-8BDB-3C0AA3D69380}" type="sibTrans" cxnId="{F0CAD3A4-72CE-492A-B1F9-C5AEC7FDFF48}">
      <dgm:prSet/>
      <dgm:spPr/>
      <dgm:t>
        <a:bodyPr/>
        <a:lstStyle/>
        <a:p>
          <a:endParaRPr lang="da-DK"/>
        </a:p>
      </dgm:t>
    </dgm:pt>
    <dgm:pt modelId="{2F43BC38-B7E5-451C-A815-04E512019DB3}">
      <dgm:prSet phldrT="[Tekst]" custT="1"/>
      <dgm:spPr/>
      <dgm:t>
        <a:bodyPr/>
        <a:lstStyle/>
        <a:p>
          <a:pPr algn="l"/>
          <a:r>
            <a:rPr lang="da-DK" sz="1100" u="none" dirty="0" smtClean="0"/>
            <a:t>NATO KUR</a:t>
          </a:r>
          <a:endParaRPr lang="da-DK" sz="1100" u="none" dirty="0"/>
        </a:p>
      </dgm:t>
    </dgm:pt>
    <dgm:pt modelId="{F5A490B3-5C34-4A70-BF01-6C88241163CF}" type="parTrans" cxnId="{00402957-E640-47DC-97DC-F2E21145B075}">
      <dgm:prSet/>
      <dgm:spPr/>
      <dgm:t>
        <a:bodyPr/>
        <a:lstStyle/>
        <a:p>
          <a:endParaRPr lang="da-DK"/>
        </a:p>
      </dgm:t>
    </dgm:pt>
    <dgm:pt modelId="{58B62232-2BA6-45AD-8509-0E02E018B6BF}" type="sibTrans" cxnId="{00402957-E640-47DC-97DC-F2E21145B075}">
      <dgm:prSet/>
      <dgm:spPr/>
      <dgm:t>
        <a:bodyPr/>
        <a:lstStyle/>
        <a:p>
          <a:endParaRPr lang="da-DK"/>
        </a:p>
      </dgm:t>
    </dgm:pt>
    <dgm:pt modelId="{E3C72AA5-B3C6-4E83-8A81-08EA640D3E7F}">
      <dgm:prSet phldrT="[Tekst]" custT="1"/>
      <dgm:spPr/>
      <dgm:t>
        <a:bodyPr/>
        <a:lstStyle/>
        <a:p>
          <a:pPr algn="l"/>
          <a:r>
            <a:rPr lang="da-DK" sz="1100" u="none" dirty="0" smtClean="0"/>
            <a:t>HIK</a:t>
          </a:r>
          <a:endParaRPr lang="da-DK" sz="1100" u="none" dirty="0"/>
        </a:p>
      </dgm:t>
    </dgm:pt>
    <dgm:pt modelId="{8F5DBF40-A5F5-4364-9A8F-83E8AEA1E646}" type="parTrans" cxnId="{EB1BF477-BA0C-44A3-A039-C4D82E22F838}">
      <dgm:prSet/>
      <dgm:spPr/>
      <dgm:t>
        <a:bodyPr/>
        <a:lstStyle/>
        <a:p>
          <a:endParaRPr lang="da-DK"/>
        </a:p>
      </dgm:t>
    </dgm:pt>
    <dgm:pt modelId="{900AC25D-C387-433E-9DB7-C30155E723B7}" type="sibTrans" cxnId="{EB1BF477-BA0C-44A3-A039-C4D82E22F838}">
      <dgm:prSet/>
      <dgm:spPr/>
      <dgm:t>
        <a:bodyPr/>
        <a:lstStyle/>
        <a:p>
          <a:endParaRPr lang="da-DK"/>
        </a:p>
      </dgm:t>
    </dgm:pt>
    <dgm:pt modelId="{3F4ECFE2-0AD9-438F-AA16-8A7531673F41}">
      <dgm:prSet phldrT="[Tekst]" custT="1"/>
      <dgm:spPr/>
      <dgm:t>
        <a:bodyPr/>
        <a:lstStyle/>
        <a:p>
          <a:pPr algn="l"/>
          <a:r>
            <a:rPr lang="da-DK" sz="1100" u="none" dirty="0" smtClean="0"/>
            <a:t>LIO</a:t>
          </a:r>
          <a:endParaRPr lang="da-DK" sz="1100" u="none" dirty="0"/>
        </a:p>
      </dgm:t>
    </dgm:pt>
    <dgm:pt modelId="{35435D37-1CC5-47A5-BAD4-3DEBDBBCE515}" type="parTrans" cxnId="{890FE6C0-23E8-491E-874D-C2F40B3AEEAD}">
      <dgm:prSet/>
      <dgm:spPr/>
      <dgm:t>
        <a:bodyPr/>
        <a:lstStyle/>
        <a:p>
          <a:endParaRPr lang="da-DK"/>
        </a:p>
      </dgm:t>
    </dgm:pt>
    <dgm:pt modelId="{ADC252B3-B954-4882-8BEF-7CD0BEB682BA}" type="sibTrans" cxnId="{890FE6C0-23E8-491E-874D-C2F40B3AEEAD}">
      <dgm:prSet/>
      <dgm:spPr/>
      <dgm:t>
        <a:bodyPr/>
        <a:lstStyle/>
        <a:p>
          <a:endParaRPr lang="da-DK"/>
        </a:p>
      </dgm:t>
    </dgm:pt>
    <dgm:pt modelId="{93A13F06-511A-42B6-96A9-0EDC9E245A8B}">
      <dgm:prSet phldrT="[Tekst]" custT="1"/>
      <dgm:spPr/>
      <dgm:t>
        <a:bodyPr/>
        <a:lstStyle/>
        <a:p>
          <a:pPr algn="l"/>
          <a:r>
            <a:rPr lang="da-DK" sz="1100" u="none" dirty="0" smtClean="0"/>
            <a:t>GSU/STP</a:t>
          </a:r>
          <a:endParaRPr lang="da-DK" sz="1100" u="none" dirty="0"/>
        </a:p>
      </dgm:t>
    </dgm:pt>
    <dgm:pt modelId="{2097D9E7-F015-4922-A53B-B8E3266A974C}" type="parTrans" cxnId="{DC473A1E-C590-4AD2-847E-5F52E5F429A4}">
      <dgm:prSet/>
      <dgm:spPr/>
      <dgm:t>
        <a:bodyPr/>
        <a:lstStyle/>
        <a:p>
          <a:endParaRPr lang="da-DK"/>
        </a:p>
      </dgm:t>
    </dgm:pt>
    <dgm:pt modelId="{F57FCC4A-90DB-4BCC-B542-EDC28491263F}" type="sibTrans" cxnId="{DC473A1E-C590-4AD2-847E-5F52E5F429A4}">
      <dgm:prSet/>
      <dgm:spPr/>
      <dgm:t>
        <a:bodyPr/>
        <a:lstStyle/>
        <a:p>
          <a:endParaRPr lang="da-DK"/>
        </a:p>
      </dgm:t>
    </dgm:pt>
    <dgm:pt modelId="{6DDD1FAD-C287-420D-A12F-042600887B4A}">
      <dgm:prSet phldrT="[Tekst]" custT="1"/>
      <dgm:spPr/>
      <dgm:t>
        <a:bodyPr/>
        <a:lstStyle/>
        <a:p>
          <a:pPr algn="l"/>
          <a:r>
            <a:rPr lang="da-DK" sz="1100" u="none" dirty="0" smtClean="0"/>
            <a:t>NATO KUR</a:t>
          </a:r>
          <a:endParaRPr lang="da-DK" sz="1100" u="none" dirty="0"/>
        </a:p>
      </dgm:t>
    </dgm:pt>
    <dgm:pt modelId="{A53DA8E6-A051-4F85-AAD5-E04C629C1576}" type="parTrans" cxnId="{62B2AEA9-187C-4182-8A6B-DFD8B2FB763D}">
      <dgm:prSet/>
      <dgm:spPr/>
      <dgm:t>
        <a:bodyPr/>
        <a:lstStyle/>
        <a:p>
          <a:endParaRPr lang="da-DK"/>
        </a:p>
      </dgm:t>
    </dgm:pt>
    <dgm:pt modelId="{7B8485BE-DA60-41C9-9C0E-E77DEE9FA0ED}" type="sibTrans" cxnId="{62B2AEA9-187C-4182-8A6B-DFD8B2FB763D}">
      <dgm:prSet/>
      <dgm:spPr/>
      <dgm:t>
        <a:bodyPr/>
        <a:lstStyle/>
        <a:p>
          <a:endParaRPr lang="da-DK"/>
        </a:p>
      </dgm:t>
    </dgm:pt>
    <dgm:pt modelId="{3F5FBC42-9F86-4057-8375-EC991A74C938}">
      <dgm:prSet phldrT="[Tekst]" custT="1"/>
      <dgm:spPr/>
      <dgm:t>
        <a:bodyPr/>
        <a:lstStyle/>
        <a:p>
          <a:pPr algn="l"/>
          <a:endParaRPr lang="da-DK" sz="1100" u="none" dirty="0"/>
        </a:p>
      </dgm:t>
    </dgm:pt>
    <dgm:pt modelId="{A52CB7C5-6170-4238-98F8-BF77FEE65A3D}" type="parTrans" cxnId="{BB84D4F1-CF66-43E6-9AF4-15A79A60931D}">
      <dgm:prSet/>
      <dgm:spPr/>
      <dgm:t>
        <a:bodyPr/>
        <a:lstStyle/>
        <a:p>
          <a:endParaRPr lang="da-DK"/>
        </a:p>
      </dgm:t>
    </dgm:pt>
    <dgm:pt modelId="{F38FF187-324F-422F-A460-69DC7DF21FBF}" type="sibTrans" cxnId="{BB84D4F1-CF66-43E6-9AF4-15A79A60931D}">
      <dgm:prSet/>
      <dgm:spPr/>
      <dgm:t>
        <a:bodyPr/>
        <a:lstStyle/>
        <a:p>
          <a:endParaRPr lang="da-DK"/>
        </a:p>
      </dgm:t>
    </dgm:pt>
    <dgm:pt modelId="{02EFE62A-3053-4C0A-94E2-F106307C8C04}" type="pres">
      <dgm:prSet presAssocID="{55C6902B-117B-406D-B1BB-A2BC3E1C7443}" presName="Name0" presStyleCnt="0">
        <dgm:presLayoutVars>
          <dgm:dir/>
          <dgm:resizeHandles val="exact"/>
        </dgm:presLayoutVars>
      </dgm:prSet>
      <dgm:spPr/>
    </dgm:pt>
    <dgm:pt modelId="{712F5380-8935-4253-98B7-827781CCAAB4}" type="pres">
      <dgm:prSet presAssocID="{55C6902B-117B-406D-B1BB-A2BC3E1C7443}" presName="bkgdShp" presStyleLbl="alignAccFollowNode1" presStyleIdx="0" presStyleCnt="1"/>
      <dgm:spPr/>
    </dgm:pt>
    <dgm:pt modelId="{0744DEB5-A4BE-4342-AE68-78627AB5EE97}" type="pres">
      <dgm:prSet presAssocID="{55C6902B-117B-406D-B1BB-A2BC3E1C7443}" presName="linComp" presStyleCnt="0"/>
      <dgm:spPr/>
    </dgm:pt>
    <dgm:pt modelId="{6E66C84C-5EF4-40E6-A601-F0C92FAC0BC7}" type="pres">
      <dgm:prSet presAssocID="{BDCCEC16-E555-4370-B34D-5442F320E573}" presName="compNode" presStyleCnt="0"/>
      <dgm:spPr/>
    </dgm:pt>
    <dgm:pt modelId="{52B6F5A3-B6ED-4CD1-9C32-CD5213C6CF52}" type="pres">
      <dgm:prSet presAssocID="{BDCCEC16-E555-4370-B34D-5442F320E573}" presName="node" presStyleLbl="node1" presStyleIdx="0" presStyleCnt="4">
        <dgm:presLayoutVars>
          <dgm:bulletEnabled val="1"/>
        </dgm:presLayoutVars>
      </dgm:prSet>
      <dgm:spPr/>
      <dgm:t>
        <a:bodyPr/>
        <a:lstStyle/>
        <a:p>
          <a:endParaRPr lang="da-DK"/>
        </a:p>
      </dgm:t>
    </dgm:pt>
    <dgm:pt modelId="{A7B51519-6305-48BF-B9E8-EE7E8EEAB0D0}" type="pres">
      <dgm:prSet presAssocID="{BDCCEC16-E555-4370-B34D-5442F320E573}" presName="invisiNode" presStyleLbl="node1" presStyleIdx="0" presStyleCnt="4"/>
      <dgm:spPr/>
    </dgm:pt>
    <dgm:pt modelId="{004663AB-3284-4718-A01C-E5540C9C185B}" type="pres">
      <dgm:prSet presAssocID="{BDCCEC16-E555-4370-B34D-5442F320E573}" presName="imagNode" presStyleLbl="fgImgPlace1" presStyleIdx="0" presStyleCnt="4"/>
      <dgm:spPr>
        <a:blipFill rotWithShape="1">
          <a:blip xmlns:r="http://schemas.openxmlformats.org/officeDocument/2006/relationships" r:embed="rId1"/>
          <a:stretch>
            <a:fillRect/>
          </a:stretch>
        </a:blipFill>
      </dgm:spPr>
    </dgm:pt>
    <dgm:pt modelId="{B04D4151-F14D-4D25-B22F-A48867F039EB}" type="pres">
      <dgm:prSet presAssocID="{98852CBE-5715-466B-AD8F-E12ACF097BE1}" presName="sibTrans" presStyleLbl="sibTrans2D1" presStyleIdx="0" presStyleCnt="0"/>
      <dgm:spPr/>
      <dgm:t>
        <a:bodyPr/>
        <a:lstStyle/>
        <a:p>
          <a:endParaRPr lang="da-DK"/>
        </a:p>
      </dgm:t>
    </dgm:pt>
    <dgm:pt modelId="{09ED19F8-54A8-4133-9B6B-5BCE744B0C20}" type="pres">
      <dgm:prSet presAssocID="{54F7B543-6981-4C3B-9321-57174ECCB5D4}" presName="compNode" presStyleCnt="0"/>
      <dgm:spPr/>
    </dgm:pt>
    <dgm:pt modelId="{2C6D7BD5-A1F2-482B-BE8E-F42EC77518A9}" type="pres">
      <dgm:prSet presAssocID="{54F7B543-6981-4C3B-9321-57174ECCB5D4}" presName="node" presStyleLbl="node1" presStyleIdx="1" presStyleCnt="4">
        <dgm:presLayoutVars>
          <dgm:bulletEnabled val="1"/>
        </dgm:presLayoutVars>
      </dgm:prSet>
      <dgm:spPr/>
      <dgm:t>
        <a:bodyPr/>
        <a:lstStyle/>
        <a:p>
          <a:endParaRPr lang="da-DK"/>
        </a:p>
      </dgm:t>
    </dgm:pt>
    <dgm:pt modelId="{89A83B9E-D833-4372-B9A5-2D03FC94A0C7}" type="pres">
      <dgm:prSet presAssocID="{54F7B543-6981-4C3B-9321-57174ECCB5D4}" presName="invisiNode" presStyleLbl="node1" presStyleIdx="1" presStyleCnt="4"/>
      <dgm:spPr/>
    </dgm:pt>
    <dgm:pt modelId="{46293599-CD18-456C-B523-2643D9780D34}" type="pres">
      <dgm:prSet presAssocID="{54F7B543-6981-4C3B-9321-57174ECCB5D4}" presName="imagNode" presStyleLbl="fgImgPlace1" presStyleIdx="1" presStyleCnt="4"/>
      <dgm:spPr>
        <a:blipFill rotWithShape="1">
          <a:blip xmlns:r="http://schemas.openxmlformats.org/officeDocument/2006/relationships" r:embed="rId2"/>
          <a:stretch>
            <a:fillRect/>
          </a:stretch>
        </a:blipFill>
      </dgm:spPr>
    </dgm:pt>
    <dgm:pt modelId="{DF1178CB-CC63-4CE1-948E-EBC617215044}" type="pres">
      <dgm:prSet presAssocID="{4649C63C-93AB-4F9D-BC5D-3F96A02CEF40}" presName="sibTrans" presStyleLbl="sibTrans2D1" presStyleIdx="0" presStyleCnt="0"/>
      <dgm:spPr/>
      <dgm:t>
        <a:bodyPr/>
        <a:lstStyle/>
        <a:p>
          <a:endParaRPr lang="da-DK"/>
        </a:p>
      </dgm:t>
    </dgm:pt>
    <dgm:pt modelId="{9FC48F0F-7201-4B3A-912A-3F7EC4499B21}" type="pres">
      <dgm:prSet presAssocID="{2DF5845F-E145-43F2-A171-DC10421FC9A3}" presName="compNode" presStyleCnt="0"/>
      <dgm:spPr/>
    </dgm:pt>
    <dgm:pt modelId="{8663C2DC-84AB-4BE7-9FA4-CD6B36392FCB}" type="pres">
      <dgm:prSet presAssocID="{2DF5845F-E145-43F2-A171-DC10421FC9A3}" presName="node" presStyleLbl="node1" presStyleIdx="2" presStyleCnt="4">
        <dgm:presLayoutVars>
          <dgm:bulletEnabled val="1"/>
        </dgm:presLayoutVars>
      </dgm:prSet>
      <dgm:spPr/>
      <dgm:t>
        <a:bodyPr/>
        <a:lstStyle/>
        <a:p>
          <a:endParaRPr lang="da-DK"/>
        </a:p>
      </dgm:t>
    </dgm:pt>
    <dgm:pt modelId="{72AC4CD8-9A7F-4E6E-88C6-6A9FE42A54BB}" type="pres">
      <dgm:prSet presAssocID="{2DF5845F-E145-43F2-A171-DC10421FC9A3}" presName="invisiNode" presStyleLbl="node1" presStyleIdx="2" presStyleCnt="4"/>
      <dgm:spPr/>
    </dgm:pt>
    <dgm:pt modelId="{82F78160-1442-452D-8541-31D68F328FFD}" type="pres">
      <dgm:prSet presAssocID="{2DF5845F-E145-43F2-A171-DC10421FC9A3}" presName="imagNode" presStyleLbl="fgImgPlace1" presStyleIdx="2" presStyleCnt="4"/>
      <dgm:spPr>
        <a:blipFill rotWithShape="1">
          <a:blip xmlns:r="http://schemas.openxmlformats.org/officeDocument/2006/relationships" r:embed="rId3"/>
          <a:stretch>
            <a:fillRect/>
          </a:stretch>
        </a:blipFill>
      </dgm:spPr>
    </dgm:pt>
    <dgm:pt modelId="{003319FC-B342-4F1F-A59B-C1AE22E17352}" type="pres">
      <dgm:prSet presAssocID="{EDD4BEE3-4CCE-4620-B6D6-B9CF0BD1A119}" presName="sibTrans" presStyleLbl="sibTrans2D1" presStyleIdx="0" presStyleCnt="0"/>
      <dgm:spPr/>
      <dgm:t>
        <a:bodyPr/>
        <a:lstStyle/>
        <a:p>
          <a:endParaRPr lang="da-DK"/>
        </a:p>
      </dgm:t>
    </dgm:pt>
    <dgm:pt modelId="{859ACEEC-942C-4C55-AA21-7048503883C5}" type="pres">
      <dgm:prSet presAssocID="{16E69697-452B-4937-B38E-A603C04687D8}" presName="compNode" presStyleCnt="0"/>
      <dgm:spPr/>
    </dgm:pt>
    <dgm:pt modelId="{E8C21E64-FADE-4ECC-8520-A2129043AC4B}" type="pres">
      <dgm:prSet presAssocID="{16E69697-452B-4937-B38E-A603C04687D8}" presName="node" presStyleLbl="node1" presStyleIdx="3" presStyleCnt="4">
        <dgm:presLayoutVars>
          <dgm:bulletEnabled val="1"/>
        </dgm:presLayoutVars>
      </dgm:prSet>
      <dgm:spPr/>
      <dgm:t>
        <a:bodyPr/>
        <a:lstStyle/>
        <a:p>
          <a:endParaRPr lang="da-DK"/>
        </a:p>
      </dgm:t>
    </dgm:pt>
    <dgm:pt modelId="{44935385-43AB-4D6E-A696-B4471EE3ED03}" type="pres">
      <dgm:prSet presAssocID="{16E69697-452B-4937-B38E-A603C04687D8}" presName="invisiNode" presStyleLbl="node1" presStyleIdx="3" presStyleCnt="4"/>
      <dgm:spPr/>
    </dgm:pt>
    <dgm:pt modelId="{98E929B9-8BAA-4422-90E7-ABE3057DD78E}" type="pres">
      <dgm:prSet presAssocID="{16E69697-452B-4937-B38E-A603C04687D8}" presName="imagNode" presStyleLbl="fgImgPlace1" presStyleIdx="3" presStyleCnt="4"/>
      <dgm:spPr>
        <a:blipFill rotWithShape="1">
          <a:blip xmlns:r="http://schemas.openxmlformats.org/officeDocument/2006/relationships" r:embed="rId4"/>
          <a:stretch>
            <a:fillRect/>
          </a:stretch>
        </a:blipFill>
      </dgm:spPr>
    </dgm:pt>
  </dgm:ptLst>
  <dgm:cxnLst>
    <dgm:cxn modelId="{1C05FC75-3288-4502-B9D0-6578A67BEA6C}" srcId="{2DF5845F-E145-43F2-A171-DC10421FC9A3}" destId="{9C9A146F-E245-41A6-AAF1-AE2D6F21A779}" srcOrd="2" destOrd="0" parTransId="{F3B809F1-8064-4098-B585-271001B5D690}" sibTransId="{1CD2FC81-83AB-4E2C-91F9-C39FF5D4537C}"/>
    <dgm:cxn modelId="{ACF3A747-1853-4981-9C19-D2487A589B03}" type="presOf" srcId="{18A820E3-4BCE-4670-BE27-C193C38E95DA}" destId="{E8C21E64-FADE-4ECC-8520-A2129043AC4B}" srcOrd="0" destOrd="8" presId="urn:microsoft.com/office/officeart/2005/8/layout/pList2"/>
    <dgm:cxn modelId="{38031386-EA65-4EDC-B132-2613A34CA35C}" type="presOf" srcId="{54F7B543-6981-4C3B-9321-57174ECCB5D4}" destId="{2C6D7BD5-A1F2-482B-BE8E-F42EC77518A9}" srcOrd="0" destOrd="0" presId="urn:microsoft.com/office/officeart/2005/8/layout/pList2"/>
    <dgm:cxn modelId="{61B6877F-5B88-4A53-A0DE-0D27EE9B2829}" type="presOf" srcId="{2DF5845F-E145-43F2-A171-DC10421FC9A3}" destId="{8663C2DC-84AB-4BE7-9FA4-CD6B36392FCB}" srcOrd="0" destOrd="0" presId="urn:microsoft.com/office/officeart/2005/8/layout/pList2"/>
    <dgm:cxn modelId="{4F7C7775-2F7C-4E72-B613-F2971BFF1A16}" type="presOf" srcId="{FC8A929F-3A33-42E2-B59F-C8F020D08D90}" destId="{E8C21E64-FADE-4ECC-8520-A2129043AC4B}" srcOrd="0" destOrd="9" presId="urn:microsoft.com/office/officeart/2005/8/layout/pList2"/>
    <dgm:cxn modelId="{FF0C49E1-FF05-4462-BBEB-5394EFDE2093}" type="presOf" srcId="{C46FDCF1-4567-4B3D-A8AF-164B436BFD87}" destId="{8663C2DC-84AB-4BE7-9FA4-CD6B36392FCB}" srcOrd="0" destOrd="8" presId="urn:microsoft.com/office/officeart/2005/8/layout/pList2"/>
    <dgm:cxn modelId="{FCF24B31-00F9-4027-ADA3-3F2AAB766425}" type="presOf" srcId="{640D3587-9577-4522-8432-B0497F466F4C}" destId="{E8C21E64-FADE-4ECC-8520-A2129043AC4B}" srcOrd="0" destOrd="4" presId="urn:microsoft.com/office/officeart/2005/8/layout/pList2"/>
    <dgm:cxn modelId="{2F1BC415-A8CE-477B-A70D-618FC71DB853}" type="presOf" srcId="{BDCCEC16-E555-4370-B34D-5442F320E573}" destId="{52B6F5A3-B6ED-4CD1-9C32-CD5213C6CF52}" srcOrd="0" destOrd="0" presId="urn:microsoft.com/office/officeart/2005/8/layout/pList2"/>
    <dgm:cxn modelId="{9D7E925D-B18F-4894-8F9E-778E81FF343A}" type="presOf" srcId="{58915889-04EE-443C-B608-15BF9BE5625C}" destId="{2C6D7BD5-A1F2-482B-BE8E-F42EC77518A9}" srcOrd="0" destOrd="7" presId="urn:microsoft.com/office/officeart/2005/8/layout/pList2"/>
    <dgm:cxn modelId="{18B72B45-0F18-4930-AD43-3B50BDEF0EFE}" type="presOf" srcId="{C463BEA7-C2FC-402B-85FE-56EEB9D0267C}" destId="{E8C21E64-FADE-4ECC-8520-A2129043AC4B}" srcOrd="0" destOrd="1" presId="urn:microsoft.com/office/officeart/2005/8/layout/pList2"/>
    <dgm:cxn modelId="{5361E9D9-0733-4240-A62B-A17A79A28C50}" type="presOf" srcId="{E71CB147-02D6-47A9-8E47-4A097A4AE10F}" destId="{2C6D7BD5-A1F2-482B-BE8E-F42EC77518A9}" srcOrd="0" destOrd="2" presId="urn:microsoft.com/office/officeart/2005/8/layout/pList2"/>
    <dgm:cxn modelId="{E24E8E10-672F-4E7A-A9F6-3BCFD347B9CC}" type="presOf" srcId="{25A4F657-092F-4036-94AF-5793CB4606E7}" destId="{E8C21E64-FADE-4ECC-8520-A2129043AC4B}" srcOrd="0" destOrd="5" presId="urn:microsoft.com/office/officeart/2005/8/layout/pList2"/>
    <dgm:cxn modelId="{AC0DC033-1516-4C60-A06D-E32AFEACF640}" srcId="{16E69697-452B-4937-B38E-A603C04687D8}" destId="{FC8A929F-3A33-42E2-B59F-C8F020D08D90}" srcOrd="8" destOrd="0" parTransId="{C1783CF4-408D-4BE7-A8FC-D4624C00C80E}" sibTransId="{641CE110-C7C5-490E-9384-2FC33AF62E59}"/>
    <dgm:cxn modelId="{AFCB0ED8-D2F2-4DBA-95A1-D1FBC7116FBD}" srcId="{C3F6C105-28AD-486E-A1DF-D63F663553AD}" destId="{DB590001-5093-4C97-B2C7-3038D8B07A19}" srcOrd="0" destOrd="0" parTransId="{47CB0603-43E0-4E4A-995D-64E9A68F2D5C}" sibTransId="{853EEB83-647D-4BF6-989F-DC55E0905F59}"/>
    <dgm:cxn modelId="{CAA6DDD8-11F8-4DED-83F4-E2786F39DA19}" srcId="{16E69697-452B-4937-B38E-A603C04687D8}" destId="{640D3587-9577-4522-8432-B0497F466F4C}" srcOrd="3" destOrd="0" parTransId="{F75BBFB0-6206-419A-BA42-2FAB6189CE7A}" sibTransId="{AB4DA07F-B7D7-449C-8ADD-481DA45614ED}"/>
    <dgm:cxn modelId="{90FAC5FD-66D3-42B6-9D04-F0944372B076}" type="presOf" srcId="{DB590001-5093-4C97-B2C7-3038D8B07A19}" destId="{52B6F5A3-B6ED-4CD1-9C32-CD5213C6CF52}" srcOrd="0" destOrd="6" presId="urn:microsoft.com/office/officeart/2005/8/layout/pList2"/>
    <dgm:cxn modelId="{F0CAD3A4-72CE-492A-B1F9-C5AEC7FDFF48}" srcId="{89DC0469-FF1B-4FAC-A926-95EC8B163908}" destId="{A919325A-E2C5-462A-A199-F3BE26F5D32A}" srcOrd="1" destOrd="0" parTransId="{2F40F05C-0120-45FA-B2ED-267D7B0FA6BA}" sibTransId="{76BF6EA6-DFB1-4807-8BDB-3C0AA3D69380}"/>
    <dgm:cxn modelId="{847AE0CA-1418-4124-B9DB-715DD5C2FA11}" type="presOf" srcId="{616CB614-7001-4B74-BA5A-9A9AFEA71649}" destId="{52B6F5A3-B6ED-4CD1-9C32-CD5213C6CF52}" srcOrd="0" destOrd="1" presId="urn:microsoft.com/office/officeart/2005/8/layout/pList2"/>
    <dgm:cxn modelId="{90B3B1EF-B786-4567-B33B-EDC2808C625A}" type="presOf" srcId="{16E69697-452B-4937-B38E-A603C04687D8}" destId="{E8C21E64-FADE-4ECC-8520-A2129043AC4B}" srcOrd="0" destOrd="0" presId="urn:microsoft.com/office/officeart/2005/8/layout/pList2"/>
    <dgm:cxn modelId="{C1218887-6921-4448-8C25-682C82E345E0}" srcId="{55C6902B-117B-406D-B1BB-A2BC3E1C7443}" destId="{16E69697-452B-4937-B38E-A603C04687D8}" srcOrd="3" destOrd="0" parTransId="{6A0EF079-E2BC-494A-AD99-8E4A6C9EE451}" sibTransId="{8495628B-B758-4878-8E1F-F7E1E3AFF3F7}"/>
    <dgm:cxn modelId="{A85A8DDE-2653-4FC0-A804-E9CA50B1002F}" type="presOf" srcId="{6D93A495-6BB7-4143-9254-9282478C6555}" destId="{8663C2DC-84AB-4BE7-9FA4-CD6B36392FCB}" srcOrd="0" destOrd="2" presId="urn:microsoft.com/office/officeart/2005/8/layout/pList2"/>
    <dgm:cxn modelId="{D3C2B127-AF40-4930-97F6-3B2AB5F0BE83}" type="presOf" srcId="{FC81402C-CF09-41EF-A621-DF4AC34DB796}" destId="{2C6D7BD5-A1F2-482B-BE8E-F42EC77518A9}" srcOrd="0" destOrd="3" presId="urn:microsoft.com/office/officeart/2005/8/layout/pList2"/>
    <dgm:cxn modelId="{F3C52A5D-A86D-4615-81CB-CFA23833B8A5}" type="presOf" srcId="{3F4ECFE2-0AD9-438F-AA16-8A7531673F41}" destId="{8663C2DC-84AB-4BE7-9FA4-CD6B36392FCB}" srcOrd="0" destOrd="10" presId="urn:microsoft.com/office/officeart/2005/8/layout/pList2"/>
    <dgm:cxn modelId="{5A4E030E-2015-469E-A31D-8A865F70BC7D}" srcId="{58915889-04EE-443C-B608-15BF9BE5625C}" destId="{3E357DCC-4152-4696-B602-7C9E31B1FBEE}" srcOrd="1" destOrd="0" parTransId="{F7B90A04-DA04-4028-B3AB-1978E02A23F5}" sibTransId="{39B1F9F9-FE04-496B-87A1-440AFC56820C}"/>
    <dgm:cxn modelId="{7C697779-B294-46BD-904D-E02670906785}" srcId="{3FC69CAD-E6CE-49C1-9853-A6518733D742}" destId="{7D42D557-3871-4643-AA33-CDC834252D3F}" srcOrd="0" destOrd="0" parTransId="{6847641F-42AA-424F-9938-DD64C350C592}" sibTransId="{1F441A91-60F2-4B63-9384-F5595790FECE}"/>
    <dgm:cxn modelId="{4EF1AA4E-66F3-45C8-BA6B-9661EC76D74A}" srcId="{16E69697-452B-4937-B38E-A603C04687D8}" destId="{18A820E3-4BCE-4670-BE27-C193C38E95DA}" srcOrd="7" destOrd="0" parTransId="{F514A5A7-60F3-4CA4-AFAE-E1BE5ACBAEA0}" sibTransId="{8F4BCCC3-802C-4910-A82A-C6AF365E8827}"/>
    <dgm:cxn modelId="{975F1EC2-99C0-4F33-B978-820763105B9D}" srcId="{16E69697-452B-4937-B38E-A603C04687D8}" destId="{BEF2B3A1-E00D-4B9C-8797-0B85C3E49941}" srcOrd="1" destOrd="0" parTransId="{32002A0C-B4BA-40D4-A75C-75047110DF12}" sibTransId="{E93D6EF1-0D9B-4E43-94DD-E00E0A495E4E}"/>
    <dgm:cxn modelId="{F7499F37-48C5-4F79-AAF5-285C8351993B}" srcId="{9C9A146F-E245-41A6-AAF1-AE2D6F21A779}" destId="{C46FDCF1-4567-4B3D-A8AF-164B436BFD87}" srcOrd="1" destOrd="0" parTransId="{DDFF8A45-6189-4862-9898-208024006BA2}" sibTransId="{F66B7FE6-D674-4957-AB1E-356725EED13D}"/>
    <dgm:cxn modelId="{C210DCD5-EE49-414E-BD88-AE95E8DD960B}" srcId="{C3F6C105-28AD-486E-A1DF-D63F663553AD}" destId="{7540EBED-EFBD-42E2-B6AB-A7E4B806BDB2}" srcOrd="2" destOrd="0" parTransId="{9EC2EB14-F658-4E49-80EB-31CBD240B78B}" sibTransId="{6394A65B-0E74-410F-A176-7C70540F3F66}"/>
    <dgm:cxn modelId="{180567CB-396E-44F1-B992-E3CB4A40A772}" srcId="{BDCCEC16-E555-4370-B34D-5442F320E573}" destId="{C5593735-1862-4093-86B8-DE3961E99AB2}" srcOrd="1" destOrd="0" parTransId="{B885E1C5-7F80-4C16-9446-D8FB941241C0}" sibTransId="{37039AB7-E0CE-4C36-80A8-67D649B0720D}"/>
    <dgm:cxn modelId="{82DCBBFD-7866-4912-8AD7-425E8E7B1DF1}" srcId="{3FC69CAD-E6CE-49C1-9853-A6518733D742}" destId="{58915889-04EE-443C-B608-15BF9BE5625C}" srcOrd="1" destOrd="0" parTransId="{CD130890-BE7E-42E8-9D3C-A75B9D2929E6}" sibTransId="{5DC6A5D9-197F-4C98-9D09-DFFC42E0C980}"/>
    <dgm:cxn modelId="{FC5719D6-5F13-477F-9B84-AC7F4D5388AB}" srcId="{2DF5845F-E145-43F2-A171-DC10421FC9A3}" destId="{89DC0469-FF1B-4FAC-A926-95EC8B163908}" srcOrd="1" destOrd="0" parTransId="{29D4572C-41B5-4C03-A925-650E758756B5}" sibTransId="{9FA04664-747D-4249-92CE-61E838EB6FDA}"/>
    <dgm:cxn modelId="{8DCC4D0C-EC60-4C7A-AEDF-8481B7A69604}" srcId="{C5593735-1862-4093-86B8-DE3961E99AB2}" destId="{65608C43-BAEA-4322-8DE8-15D64B1A515B}" srcOrd="0" destOrd="0" parTransId="{EFE6C41B-E302-4AA8-9F94-350ED72A481F}" sibTransId="{28EC4513-A62F-4052-B5FB-525857E3A519}"/>
    <dgm:cxn modelId="{DC473A1E-C590-4AD2-847E-5F52E5F429A4}" srcId="{C3F6C105-28AD-486E-A1DF-D63F663553AD}" destId="{93A13F06-511A-42B6-96A9-0EDC9E245A8B}" srcOrd="1" destOrd="0" parTransId="{2097D9E7-F015-4922-A53B-B8E3266A974C}" sibTransId="{F57FCC4A-90DB-4BCC-B542-EDC28491263F}"/>
    <dgm:cxn modelId="{0159A0F2-775D-423D-90BB-1E242D5C3CE9}" type="presOf" srcId="{64527FB9-44F0-4585-9B08-FE896F421C2A}" destId="{8663C2DC-84AB-4BE7-9FA4-CD6B36392FCB}" srcOrd="0" destOrd="7" presId="urn:microsoft.com/office/officeart/2005/8/layout/pList2"/>
    <dgm:cxn modelId="{4D4E9315-CD10-440E-A8AD-4D6F3C80C7C5}" srcId="{0441ADB8-506F-44BE-984F-1B432065574A}" destId="{6D93A495-6BB7-4143-9254-9282478C6555}" srcOrd="0" destOrd="0" parTransId="{85DBC4BD-786C-4881-B14C-DC39ADE39E6F}" sibTransId="{212AA880-0C7F-4904-B587-41D2637AC975}"/>
    <dgm:cxn modelId="{3F8F4F07-E6DC-481E-B84D-0E9FDB2CE803}" type="presOf" srcId="{EBCB2525-4071-4AE0-9139-D07F634F9937}" destId="{52B6F5A3-B6ED-4CD1-9C32-CD5213C6CF52}" srcOrd="0" destOrd="2" presId="urn:microsoft.com/office/officeart/2005/8/layout/pList2"/>
    <dgm:cxn modelId="{67329337-567D-4D31-A067-FACADF343185}" type="presOf" srcId="{7540EBED-EFBD-42E2-B6AB-A7E4B806BDB2}" destId="{52B6F5A3-B6ED-4CD1-9C32-CD5213C6CF52}" srcOrd="0" destOrd="8" presId="urn:microsoft.com/office/officeart/2005/8/layout/pList2"/>
    <dgm:cxn modelId="{09F8D4C2-CE8E-43A1-B9D6-EB1314097A26}" srcId="{2DF5845F-E145-43F2-A171-DC10421FC9A3}" destId="{0441ADB8-506F-44BE-984F-1B432065574A}" srcOrd="0" destOrd="0" parTransId="{52FC6422-8CDB-4552-B434-22C90A11A026}" sibTransId="{A92B97FC-73BA-4A45-BE8C-12C8825E4464}"/>
    <dgm:cxn modelId="{3A481BAC-30CD-4714-8ECC-F47CBF6F09D5}" srcId="{616CB614-7001-4B74-BA5A-9A9AFEA71649}" destId="{EBCB2525-4071-4AE0-9139-D07F634F9937}" srcOrd="0" destOrd="0" parTransId="{1EDE7A3E-257F-4A13-9060-3800376428BA}" sibTransId="{752EBA0B-69EA-4855-9808-ED787DF6BC8E}"/>
    <dgm:cxn modelId="{03058C8E-1A15-4EC1-8E23-8D3A4536ABE8}" srcId="{16E69697-452B-4937-B38E-A603C04687D8}" destId="{8D00209A-8093-4F5C-8E51-2A1F92A186FA}" srcOrd="2" destOrd="0" parTransId="{37B985CC-7BC3-4B48-A283-E06058F6694E}" sibTransId="{65D474AC-0ECA-4187-A6ED-510A4DE8022A}"/>
    <dgm:cxn modelId="{8BCA1B75-ECE9-41D3-BF40-251D729F348A}" type="presOf" srcId="{3FC69CAD-E6CE-49C1-9853-A6518733D742}" destId="{2C6D7BD5-A1F2-482B-BE8E-F42EC77518A9}" srcOrd="0" destOrd="5" presId="urn:microsoft.com/office/officeart/2005/8/layout/pList2"/>
    <dgm:cxn modelId="{1BFB9051-12B3-40BD-A67E-867F9ACE9551}" type="presOf" srcId="{89DC0469-FF1B-4FAC-A926-95EC8B163908}" destId="{8663C2DC-84AB-4BE7-9FA4-CD6B36392FCB}" srcOrd="0" destOrd="3" presId="urn:microsoft.com/office/officeart/2005/8/layout/pList2"/>
    <dgm:cxn modelId="{AEFC0EE0-8306-49D8-BC8C-85BAE5861498}" type="presOf" srcId="{C3F6C105-28AD-486E-A1DF-D63F663553AD}" destId="{52B6F5A3-B6ED-4CD1-9C32-CD5213C6CF52}" srcOrd="0" destOrd="5" presId="urn:microsoft.com/office/officeart/2005/8/layout/pList2"/>
    <dgm:cxn modelId="{9E780B56-ED74-4A79-AF72-B703468C8BC3}" type="presOf" srcId="{3F5FBC42-9F86-4057-8375-EC991A74C938}" destId="{2C6D7BD5-A1F2-482B-BE8E-F42EC77518A9}" srcOrd="0" destOrd="10" presId="urn:microsoft.com/office/officeart/2005/8/layout/pList2"/>
    <dgm:cxn modelId="{9FBAAFC0-8D9F-4A81-A0E1-25633C4522A4}" srcId="{55C6902B-117B-406D-B1BB-A2BC3E1C7443}" destId="{BDCCEC16-E555-4370-B34D-5442F320E573}" srcOrd="0" destOrd="0" parTransId="{F93529C7-5C1B-4543-B88D-8ECCE999692B}" sibTransId="{98852CBE-5715-466B-AD8F-E12ACF097BE1}"/>
    <dgm:cxn modelId="{E1D55C7F-3251-4060-B0E9-133B104AB1A1}" srcId="{16E69697-452B-4937-B38E-A603C04687D8}" destId="{098C3EF2-85A1-4976-8F2D-71EC6938C586}" srcOrd="9" destOrd="0" parTransId="{A983315E-C933-424E-BA86-F260E2D8308E}" sibTransId="{C860949A-12C1-42F0-B63D-DD65AD9235CE}"/>
    <dgm:cxn modelId="{620C8ED3-3007-4E7A-B998-C0D3036385D5}" type="presOf" srcId="{74FA0E9D-45D5-4B5F-A9E4-12C5FFC3C7B5}" destId="{2C6D7BD5-A1F2-482B-BE8E-F42EC77518A9}" srcOrd="0" destOrd="1" presId="urn:microsoft.com/office/officeart/2005/8/layout/pList2"/>
    <dgm:cxn modelId="{7AAB917E-F0BD-467D-AB05-46459DA7449C}" type="presOf" srcId="{BB2D715F-0DD4-4211-8F36-8E75FADCA7C1}" destId="{2C6D7BD5-A1F2-482B-BE8E-F42EC77518A9}" srcOrd="0" destOrd="8" presId="urn:microsoft.com/office/officeart/2005/8/layout/pList2"/>
    <dgm:cxn modelId="{20B0AFA2-59BA-49E3-86CF-0676BA623CFE}" type="presOf" srcId="{65608C43-BAEA-4322-8DE8-15D64B1A515B}" destId="{52B6F5A3-B6ED-4CD1-9C32-CD5213C6CF52}" srcOrd="0" destOrd="4" presId="urn:microsoft.com/office/officeart/2005/8/layout/pList2"/>
    <dgm:cxn modelId="{83C48663-5885-41A2-8CBA-23FD43DDD45B}" srcId="{BDCCEC16-E555-4370-B34D-5442F320E573}" destId="{616CB614-7001-4B74-BA5A-9A9AFEA71649}" srcOrd="0" destOrd="0" parTransId="{F3711F94-4901-4E2A-90CA-AFB3CC79E8F4}" sibTransId="{396E570A-DBAE-446A-A338-CAD39ADF0B69}"/>
    <dgm:cxn modelId="{0C39616D-704F-4B37-9210-0CDA0B5F5BEB}" type="presOf" srcId="{0441ADB8-506F-44BE-984F-1B432065574A}" destId="{8663C2DC-84AB-4BE7-9FA4-CD6B36392FCB}" srcOrd="0" destOrd="1" presId="urn:microsoft.com/office/officeart/2005/8/layout/pList2"/>
    <dgm:cxn modelId="{CB030AC5-1F46-40BC-8835-8BAEB5903DD0}" type="presOf" srcId="{3E357DCC-4152-4696-B602-7C9E31B1FBEE}" destId="{2C6D7BD5-A1F2-482B-BE8E-F42EC77518A9}" srcOrd="0" destOrd="9" presId="urn:microsoft.com/office/officeart/2005/8/layout/pList2"/>
    <dgm:cxn modelId="{AF711DEF-AB41-448E-8090-209894FB87DD}" srcId="{BDCCEC16-E555-4370-B34D-5442F320E573}" destId="{C3F6C105-28AD-486E-A1DF-D63F663553AD}" srcOrd="2" destOrd="0" parTransId="{6FF77C9F-4E8D-421F-A1D6-AD1F294D3133}" sibTransId="{DA5914A8-4C0C-4B52-B1AA-61E78CD70300}"/>
    <dgm:cxn modelId="{287BAC74-E378-41FB-9DA3-B223FA0333B4}" type="presOf" srcId="{BEF2B3A1-E00D-4B9C-8797-0B85C3E49941}" destId="{E8C21E64-FADE-4ECC-8520-A2129043AC4B}" srcOrd="0" destOrd="2" presId="urn:microsoft.com/office/officeart/2005/8/layout/pList2"/>
    <dgm:cxn modelId="{CEDAE179-3594-4819-9ADC-9695E2051536}" type="presOf" srcId="{A919325A-E2C5-462A-A199-F3BE26F5D32A}" destId="{8663C2DC-84AB-4BE7-9FA4-CD6B36392FCB}" srcOrd="0" destOrd="5" presId="urn:microsoft.com/office/officeart/2005/8/layout/pList2"/>
    <dgm:cxn modelId="{EB1BF477-BA0C-44A3-A039-C4D82E22F838}" srcId="{C46FDCF1-4567-4B3D-A8AF-164B436BFD87}" destId="{E3C72AA5-B3C6-4E83-8A81-08EA640D3E7F}" srcOrd="0" destOrd="0" parTransId="{8F5DBF40-A5F5-4364-9A8F-83E8AEA1E646}" sibTransId="{900AC25D-C387-433E-9DB7-C30155E723B7}"/>
    <dgm:cxn modelId="{96374C47-2375-47B4-AE1C-AA8471E65A22}" srcId="{16E69697-452B-4937-B38E-A603C04687D8}" destId="{25A4F657-092F-4036-94AF-5793CB4606E7}" srcOrd="4" destOrd="0" parTransId="{FFBACCC3-693B-4F66-96E6-AAFAEF718BFF}" sibTransId="{C93BA523-DC3B-43A9-BED6-55FB68AE7845}"/>
    <dgm:cxn modelId="{D11C92AB-A15F-49E7-8325-BDA1B487C14B}" type="presOf" srcId="{977E2843-9D92-4FBA-9B6E-3A263926A6FD}" destId="{E8C21E64-FADE-4ECC-8520-A2129043AC4B}" srcOrd="0" destOrd="6" presId="urn:microsoft.com/office/officeart/2005/8/layout/pList2"/>
    <dgm:cxn modelId="{0A708DBD-A1D1-47F7-B672-01A7DCC1A1C7}" srcId="{74FA0E9D-45D5-4B5F-A9E4-12C5FFC3C7B5}" destId="{E71CB147-02D6-47A9-8E47-4A097A4AE10F}" srcOrd="0" destOrd="0" parTransId="{34A4FD02-F901-455D-B395-CB2EEC7CC1E3}" sibTransId="{1FD2D113-E6A9-48F8-AD14-4E3511D9228E}"/>
    <dgm:cxn modelId="{8A6B8034-17CF-4852-B2CD-852302F1F9E2}" srcId="{55C6902B-117B-406D-B1BB-A2BC3E1C7443}" destId="{54F7B543-6981-4C3B-9321-57174ECCB5D4}" srcOrd="1" destOrd="0" parTransId="{FE46FA80-3F7F-4376-AA3E-6F2776B952FF}" sibTransId="{4649C63C-93AB-4F9D-BC5D-3F96A02CEF40}"/>
    <dgm:cxn modelId="{590695BC-4A05-4441-8C89-4BC5DAE7E405}" srcId="{16E69697-452B-4937-B38E-A603C04687D8}" destId="{B22932C7-D53B-4789-AE91-6313DBB47A24}" srcOrd="6" destOrd="0" parTransId="{92FDF0D7-C40D-44E9-80DE-425955535223}" sibTransId="{A6E9743A-F249-4CD7-AE4D-42055D7C897B}"/>
    <dgm:cxn modelId="{623E583F-C4A8-46FD-A087-A51F32705C36}" type="presOf" srcId="{93A13F06-511A-42B6-96A9-0EDC9E245A8B}" destId="{52B6F5A3-B6ED-4CD1-9C32-CD5213C6CF52}" srcOrd="0" destOrd="7" presId="urn:microsoft.com/office/officeart/2005/8/layout/pList2"/>
    <dgm:cxn modelId="{490E673B-4131-4258-9422-0B843A18863B}" type="presOf" srcId="{4EC1CB67-17A7-4934-9A72-6567BE5AE5F9}" destId="{8663C2DC-84AB-4BE7-9FA4-CD6B36392FCB}" srcOrd="0" destOrd="4" presId="urn:microsoft.com/office/officeart/2005/8/layout/pList2"/>
    <dgm:cxn modelId="{76DD782B-3A3D-4E8B-8132-2F0A34D832EE}" type="presOf" srcId="{B22932C7-D53B-4789-AE91-6313DBB47A24}" destId="{E8C21E64-FADE-4ECC-8520-A2129043AC4B}" srcOrd="0" destOrd="7" presId="urn:microsoft.com/office/officeart/2005/8/layout/pList2"/>
    <dgm:cxn modelId="{62B2AEA9-187C-4182-8A6B-DFD8B2FB763D}" srcId="{58915889-04EE-443C-B608-15BF9BE5625C}" destId="{6DDD1FAD-C287-420D-A12F-042600887B4A}" srcOrd="3" destOrd="0" parTransId="{A53DA8E6-A051-4F85-AAD5-E04C629C1576}" sibTransId="{7B8485BE-DA60-41C9-9C0E-E77DEE9FA0ED}"/>
    <dgm:cxn modelId="{45D95A34-66F7-40CE-AB8A-D004E53D9D6D}" type="presOf" srcId="{55C6902B-117B-406D-B1BB-A2BC3E1C7443}" destId="{02EFE62A-3053-4C0A-94E2-F106307C8C04}" srcOrd="0" destOrd="0" presId="urn:microsoft.com/office/officeart/2005/8/layout/pList2"/>
    <dgm:cxn modelId="{AA3033BD-1CD2-4A65-8B22-FE4500322857}" type="presOf" srcId="{9C9A146F-E245-41A6-AAF1-AE2D6F21A779}" destId="{8663C2DC-84AB-4BE7-9FA4-CD6B36392FCB}" srcOrd="0" destOrd="6" presId="urn:microsoft.com/office/officeart/2005/8/layout/pList2"/>
    <dgm:cxn modelId="{24ED37C8-E93C-489A-AF1F-018C0029F7F5}" type="presOf" srcId="{8D00209A-8093-4F5C-8E51-2A1F92A186FA}" destId="{E8C21E64-FADE-4ECC-8520-A2129043AC4B}" srcOrd="0" destOrd="3" presId="urn:microsoft.com/office/officeart/2005/8/layout/pList2"/>
    <dgm:cxn modelId="{CBEB8C97-E6F5-4C23-9C92-EC88DBDB82BC}" type="presOf" srcId="{E68387FB-C6DA-4448-80C0-3E52B134C216}" destId="{2C6D7BD5-A1F2-482B-BE8E-F42EC77518A9}" srcOrd="0" destOrd="4" presId="urn:microsoft.com/office/officeart/2005/8/layout/pList2"/>
    <dgm:cxn modelId="{1F907A8E-EA16-4DAF-9D88-81D1D1C9A4EA}" type="presOf" srcId="{E3C72AA5-B3C6-4E83-8A81-08EA640D3E7F}" destId="{8663C2DC-84AB-4BE7-9FA4-CD6B36392FCB}" srcOrd="0" destOrd="9" presId="urn:microsoft.com/office/officeart/2005/8/layout/pList2"/>
    <dgm:cxn modelId="{3235F195-5CA1-4D98-8247-99AA5D3B877C}" type="presOf" srcId="{4649C63C-93AB-4F9D-BC5D-3F96A02CEF40}" destId="{DF1178CB-CC63-4CE1-948E-EBC617215044}" srcOrd="0" destOrd="0" presId="urn:microsoft.com/office/officeart/2005/8/layout/pList2"/>
    <dgm:cxn modelId="{29B97469-54AE-47E6-9CC7-0656C7E8FCF0}" type="presOf" srcId="{2F43BC38-B7E5-451C-A815-04E512019DB3}" destId="{8663C2DC-84AB-4BE7-9FA4-CD6B36392FCB}" srcOrd="0" destOrd="11" presId="urn:microsoft.com/office/officeart/2005/8/layout/pList2"/>
    <dgm:cxn modelId="{BB84D4F1-CF66-43E6-9AF4-15A79A60931D}" srcId="{58915889-04EE-443C-B608-15BF9BE5625C}" destId="{3F5FBC42-9F86-4057-8375-EC991A74C938}" srcOrd="2" destOrd="0" parTransId="{A52CB7C5-6170-4238-98F8-BF77FEE65A3D}" sibTransId="{F38FF187-324F-422F-A460-69DC7DF21FBF}"/>
    <dgm:cxn modelId="{E9A990D6-B3B3-4537-B099-6831BDA47DD3}" srcId="{54F7B543-6981-4C3B-9321-57174ECCB5D4}" destId="{74FA0E9D-45D5-4B5F-A9E4-12C5FFC3C7B5}" srcOrd="0" destOrd="0" parTransId="{0814A70A-2389-4816-B786-4BFB9A928150}" sibTransId="{54B6F8D8-7C97-4D56-A9FD-BE3AEE6403B5}"/>
    <dgm:cxn modelId="{DB61DC00-80C8-4A1B-BEEC-BDEBFF81E2F7}" srcId="{FC81402C-CF09-41EF-A621-DF4AC34DB796}" destId="{E68387FB-C6DA-4448-80C0-3E52B134C216}" srcOrd="0" destOrd="0" parTransId="{0EFD18E5-A062-448F-9AE2-A1DAFC380D78}" sibTransId="{7DB934C0-D47E-46EC-BE17-06B0404B5663}"/>
    <dgm:cxn modelId="{365E9AD5-33F8-4416-AF90-BAADD9671216}" type="presOf" srcId="{EDD4BEE3-4CCE-4620-B6D6-B9CF0BD1A119}" destId="{003319FC-B342-4F1F-A59B-C1AE22E17352}" srcOrd="0" destOrd="0" presId="urn:microsoft.com/office/officeart/2005/8/layout/pList2"/>
    <dgm:cxn modelId="{83088CB5-5B5E-42B8-9ADC-CEB66DCC29BA}" srcId="{16E69697-452B-4937-B38E-A603C04687D8}" destId="{977E2843-9D92-4FBA-9B6E-3A263926A6FD}" srcOrd="5" destOrd="0" parTransId="{874A9310-713E-42B7-A63D-64176798141A}" sibTransId="{B992C93F-5B5C-4BE4-83F4-87BE2104AD91}"/>
    <dgm:cxn modelId="{82AFFA8A-EC2B-43BA-A389-AD1C9A62D2C9}" srcId="{9C9A146F-E245-41A6-AAF1-AE2D6F21A779}" destId="{64527FB9-44F0-4585-9B08-FE896F421C2A}" srcOrd="0" destOrd="0" parTransId="{D00FC479-958C-469A-837B-6D1B839B8422}" sibTransId="{631F96C7-FBCB-4087-B703-4CD9727513F3}"/>
    <dgm:cxn modelId="{60DE058F-657F-4812-8A6E-B1A8862CB3A9}" type="presOf" srcId="{C5593735-1862-4093-86B8-DE3961E99AB2}" destId="{52B6F5A3-B6ED-4CD1-9C32-CD5213C6CF52}" srcOrd="0" destOrd="3" presId="urn:microsoft.com/office/officeart/2005/8/layout/pList2"/>
    <dgm:cxn modelId="{0C8C0BFF-AA47-4BF9-B3C0-EEC4A5D43685}" srcId="{54F7B543-6981-4C3B-9321-57174ECCB5D4}" destId="{FC81402C-CF09-41EF-A621-DF4AC34DB796}" srcOrd="1" destOrd="0" parTransId="{8530A87E-F14B-467B-AF19-61AEC6F76C36}" sibTransId="{3F5D2520-F4A5-4EB5-B16F-A2E28FC2ADDA}"/>
    <dgm:cxn modelId="{44E6494D-F3A9-4708-B4D2-E148D61BA520}" srcId="{16E69697-452B-4937-B38E-A603C04687D8}" destId="{C463BEA7-C2FC-402B-85FE-56EEB9D0267C}" srcOrd="0" destOrd="0" parTransId="{DEF31CB2-BD7E-4397-AEF5-B5F61647E2DE}" sibTransId="{D7B61385-E475-4C53-BD40-8AA95128C69C}"/>
    <dgm:cxn modelId="{C63C0070-C982-4C75-B3E6-660854215D07}" srcId="{89DC0469-FF1B-4FAC-A926-95EC8B163908}" destId="{4EC1CB67-17A7-4934-9A72-6567BE5AE5F9}" srcOrd="0" destOrd="0" parTransId="{21100385-A4DF-4C8C-B3CF-B90B4B247726}" sibTransId="{16601636-B7A9-4EEB-B1CB-B9C63B8CB19E}"/>
    <dgm:cxn modelId="{ED32245C-A4E1-4691-9A35-76AAE53B762C}" type="presOf" srcId="{6DDD1FAD-C287-420D-A12F-042600887B4A}" destId="{2C6D7BD5-A1F2-482B-BE8E-F42EC77518A9}" srcOrd="0" destOrd="11" presId="urn:microsoft.com/office/officeart/2005/8/layout/pList2"/>
    <dgm:cxn modelId="{6FF73411-CFD3-4628-B784-585D94C687F0}" srcId="{55C6902B-117B-406D-B1BB-A2BC3E1C7443}" destId="{2DF5845F-E145-43F2-A171-DC10421FC9A3}" srcOrd="2" destOrd="0" parTransId="{3B1AB83F-5649-4D3D-B001-46BDB2C109FC}" sibTransId="{EDD4BEE3-4CCE-4620-B6D6-B9CF0BD1A119}"/>
    <dgm:cxn modelId="{3ADDFF99-C9AB-4BF8-8F3A-15BEDF479E1B}" srcId="{58915889-04EE-443C-B608-15BF9BE5625C}" destId="{BB2D715F-0DD4-4211-8F36-8E75FADCA7C1}" srcOrd="0" destOrd="0" parTransId="{2C243CF7-BDE0-4470-A588-682B07439C66}" sibTransId="{C941CBE5-7B6D-49E7-A0AF-76EB03E05C51}"/>
    <dgm:cxn modelId="{78916AD5-6053-4B2F-8004-2C3443F73E45}" srcId="{54F7B543-6981-4C3B-9321-57174ECCB5D4}" destId="{3FC69CAD-E6CE-49C1-9853-A6518733D742}" srcOrd="2" destOrd="0" parTransId="{F4D5121E-3F6F-4D07-8DA9-7591AEFB7F05}" sibTransId="{B9E1923F-8ABB-4BF3-944C-C561A9A00D08}"/>
    <dgm:cxn modelId="{00402957-E640-47DC-97DC-F2E21145B075}" srcId="{9C9A146F-E245-41A6-AAF1-AE2D6F21A779}" destId="{2F43BC38-B7E5-451C-A815-04E512019DB3}" srcOrd="2" destOrd="0" parTransId="{F5A490B3-5C34-4A70-BF01-6C88241163CF}" sibTransId="{58B62232-2BA6-45AD-8509-0E02E018B6BF}"/>
    <dgm:cxn modelId="{890FE6C0-23E8-491E-874D-C2F40B3AEEAD}" srcId="{C46FDCF1-4567-4B3D-A8AF-164B436BFD87}" destId="{3F4ECFE2-0AD9-438F-AA16-8A7531673F41}" srcOrd="1" destOrd="0" parTransId="{35435D37-1CC5-47A5-BAD4-3DEBDBBCE515}" sibTransId="{ADC252B3-B954-4882-8BEF-7CD0BEB682BA}"/>
    <dgm:cxn modelId="{8A2DD65C-C684-4EDD-8DB2-78DF26F5B3B5}" type="presOf" srcId="{098C3EF2-85A1-4976-8F2D-71EC6938C586}" destId="{E8C21E64-FADE-4ECC-8520-A2129043AC4B}" srcOrd="0" destOrd="10" presId="urn:microsoft.com/office/officeart/2005/8/layout/pList2"/>
    <dgm:cxn modelId="{B7545C38-56EF-40EB-A440-A84636FAF9B5}" type="presOf" srcId="{7D42D557-3871-4643-AA33-CDC834252D3F}" destId="{2C6D7BD5-A1F2-482B-BE8E-F42EC77518A9}" srcOrd="0" destOrd="6" presId="urn:microsoft.com/office/officeart/2005/8/layout/pList2"/>
    <dgm:cxn modelId="{77AE2EB4-F41F-4980-A99A-56B6184C3099}" type="presOf" srcId="{98852CBE-5715-466B-AD8F-E12ACF097BE1}" destId="{B04D4151-F14D-4D25-B22F-A48867F039EB}" srcOrd="0" destOrd="0" presId="urn:microsoft.com/office/officeart/2005/8/layout/pList2"/>
    <dgm:cxn modelId="{9297688F-D0C2-45D6-A22D-3D819B00E84C}" type="presParOf" srcId="{02EFE62A-3053-4C0A-94E2-F106307C8C04}" destId="{712F5380-8935-4253-98B7-827781CCAAB4}" srcOrd="0" destOrd="0" presId="urn:microsoft.com/office/officeart/2005/8/layout/pList2"/>
    <dgm:cxn modelId="{6940BA45-9772-4A88-8647-ADCFFD681710}" type="presParOf" srcId="{02EFE62A-3053-4C0A-94E2-F106307C8C04}" destId="{0744DEB5-A4BE-4342-AE68-78627AB5EE97}" srcOrd="1" destOrd="0" presId="urn:microsoft.com/office/officeart/2005/8/layout/pList2"/>
    <dgm:cxn modelId="{E2D3ADFA-C6BB-4F30-99B8-6AC9F068FF21}" type="presParOf" srcId="{0744DEB5-A4BE-4342-AE68-78627AB5EE97}" destId="{6E66C84C-5EF4-40E6-A601-F0C92FAC0BC7}" srcOrd="0" destOrd="0" presId="urn:microsoft.com/office/officeart/2005/8/layout/pList2"/>
    <dgm:cxn modelId="{62F0C2F6-A738-4F15-B7AD-09E9289D8120}" type="presParOf" srcId="{6E66C84C-5EF4-40E6-A601-F0C92FAC0BC7}" destId="{52B6F5A3-B6ED-4CD1-9C32-CD5213C6CF52}" srcOrd="0" destOrd="0" presId="urn:microsoft.com/office/officeart/2005/8/layout/pList2"/>
    <dgm:cxn modelId="{833F7F84-A1B5-4ABD-9012-6C69F4E3DD48}" type="presParOf" srcId="{6E66C84C-5EF4-40E6-A601-F0C92FAC0BC7}" destId="{A7B51519-6305-48BF-B9E8-EE7E8EEAB0D0}" srcOrd="1" destOrd="0" presId="urn:microsoft.com/office/officeart/2005/8/layout/pList2"/>
    <dgm:cxn modelId="{C88E107F-20F4-4887-9881-950EACEEB11C}" type="presParOf" srcId="{6E66C84C-5EF4-40E6-A601-F0C92FAC0BC7}" destId="{004663AB-3284-4718-A01C-E5540C9C185B}" srcOrd="2" destOrd="0" presId="urn:microsoft.com/office/officeart/2005/8/layout/pList2"/>
    <dgm:cxn modelId="{8DC08CF2-6CC6-4E7E-B6FE-488A343271A7}" type="presParOf" srcId="{0744DEB5-A4BE-4342-AE68-78627AB5EE97}" destId="{B04D4151-F14D-4D25-B22F-A48867F039EB}" srcOrd="1" destOrd="0" presId="urn:microsoft.com/office/officeart/2005/8/layout/pList2"/>
    <dgm:cxn modelId="{9900642A-9270-4E56-BFCE-6CD6AE7E9E23}" type="presParOf" srcId="{0744DEB5-A4BE-4342-AE68-78627AB5EE97}" destId="{09ED19F8-54A8-4133-9B6B-5BCE744B0C20}" srcOrd="2" destOrd="0" presId="urn:microsoft.com/office/officeart/2005/8/layout/pList2"/>
    <dgm:cxn modelId="{25CFFA3C-5E03-4F9D-8F87-482C957983D5}" type="presParOf" srcId="{09ED19F8-54A8-4133-9B6B-5BCE744B0C20}" destId="{2C6D7BD5-A1F2-482B-BE8E-F42EC77518A9}" srcOrd="0" destOrd="0" presId="urn:microsoft.com/office/officeart/2005/8/layout/pList2"/>
    <dgm:cxn modelId="{FCAF9599-95E8-48F1-96CB-E518CDEE18E4}" type="presParOf" srcId="{09ED19F8-54A8-4133-9B6B-5BCE744B0C20}" destId="{89A83B9E-D833-4372-B9A5-2D03FC94A0C7}" srcOrd="1" destOrd="0" presId="urn:microsoft.com/office/officeart/2005/8/layout/pList2"/>
    <dgm:cxn modelId="{EB9D31C0-14BA-438B-8062-60A7A98139C4}" type="presParOf" srcId="{09ED19F8-54A8-4133-9B6B-5BCE744B0C20}" destId="{46293599-CD18-456C-B523-2643D9780D34}" srcOrd="2" destOrd="0" presId="urn:microsoft.com/office/officeart/2005/8/layout/pList2"/>
    <dgm:cxn modelId="{C91AC05A-326E-4AFD-9192-B3F9BD2D20CE}" type="presParOf" srcId="{0744DEB5-A4BE-4342-AE68-78627AB5EE97}" destId="{DF1178CB-CC63-4CE1-948E-EBC617215044}" srcOrd="3" destOrd="0" presId="urn:microsoft.com/office/officeart/2005/8/layout/pList2"/>
    <dgm:cxn modelId="{E98099A3-DA69-49B6-94CF-E02C5EDBB9D1}" type="presParOf" srcId="{0744DEB5-A4BE-4342-AE68-78627AB5EE97}" destId="{9FC48F0F-7201-4B3A-912A-3F7EC4499B21}" srcOrd="4" destOrd="0" presId="urn:microsoft.com/office/officeart/2005/8/layout/pList2"/>
    <dgm:cxn modelId="{F29E9834-F1A4-4F70-B8C5-0CE7314B857F}" type="presParOf" srcId="{9FC48F0F-7201-4B3A-912A-3F7EC4499B21}" destId="{8663C2DC-84AB-4BE7-9FA4-CD6B36392FCB}" srcOrd="0" destOrd="0" presId="urn:microsoft.com/office/officeart/2005/8/layout/pList2"/>
    <dgm:cxn modelId="{077887DC-174F-4323-942A-8E097DBF709F}" type="presParOf" srcId="{9FC48F0F-7201-4B3A-912A-3F7EC4499B21}" destId="{72AC4CD8-9A7F-4E6E-88C6-6A9FE42A54BB}" srcOrd="1" destOrd="0" presId="urn:microsoft.com/office/officeart/2005/8/layout/pList2"/>
    <dgm:cxn modelId="{67CF7317-9E1C-49CE-84A2-4DDAE92830CA}" type="presParOf" srcId="{9FC48F0F-7201-4B3A-912A-3F7EC4499B21}" destId="{82F78160-1442-452D-8541-31D68F328FFD}" srcOrd="2" destOrd="0" presId="urn:microsoft.com/office/officeart/2005/8/layout/pList2"/>
    <dgm:cxn modelId="{11F7919F-16DB-4A54-9BB0-B7ABBE0E80AA}" type="presParOf" srcId="{0744DEB5-A4BE-4342-AE68-78627AB5EE97}" destId="{003319FC-B342-4F1F-A59B-C1AE22E17352}" srcOrd="5" destOrd="0" presId="urn:microsoft.com/office/officeart/2005/8/layout/pList2"/>
    <dgm:cxn modelId="{A1A29FAD-7A41-4DB3-B851-D106A22D6B91}" type="presParOf" srcId="{0744DEB5-A4BE-4342-AE68-78627AB5EE97}" destId="{859ACEEC-942C-4C55-AA21-7048503883C5}" srcOrd="6" destOrd="0" presId="urn:microsoft.com/office/officeart/2005/8/layout/pList2"/>
    <dgm:cxn modelId="{8DE354D0-1D35-40DB-998D-7CD27014A219}" type="presParOf" srcId="{859ACEEC-942C-4C55-AA21-7048503883C5}" destId="{E8C21E64-FADE-4ECC-8520-A2129043AC4B}" srcOrd="0" destOrd="0" presId="urn:microsoft.com/office/officeart/2005/8/layout/pList2"/>
    <dgm:cxn modelId="{21188854-27E3-47F4-8C03-D2792F949F1D}" type="presParOf" srcId="{859ACEEC-942C-4C55-AA21-7048503883C5}" destId="{44935385-43AB-4D6E-A696-B4471EE3ED03}" srcOrd="1" destOrd="0" presId="urn:microsoft.com/office/officeart/2005/8/layout/pList2"/>
    <dgm:cxn modelId="{965026EB-D825-43F4-84BF-CC942403D2D8}" type="presParOf" srcId="{859ACEEC-942C-4C55-AA21-7048503883C5}" destId="{98E929B9-8BAA-4422-90E7-ABE3057DD78E}"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899F05-814E-468C-8200-FCCCFED40070}" type="doc">
      <dgm:prSet loTypeId="urn:microsoft.com/office/officeart/2005/8/layout/pyramid2" loCatId="pyramid" qsTypeId="urn:microsoft.com/office/officeart/2005/8/quickstyle/simple1" qsCatId="simple" csTypeId="urn:microsoft.com/office/officeart/2005/8/colors/colorful3" csCatId="colorful" phldr="1"/>
      <dgm:spPr/>
      <dgm:t>
        <a:bodyPr/>
        <a:lstStyle/>
        <a:p>
          <a:endParaRPr lang="da-DK"/>
        </a:p>
      </dgm:t>
    </dgm:pt>
    <dgm:pt modelId="{F0B53EA6-3DE7-4257-BF19-2226CB528A56}">
      <dgm:prSet phldrT="[Tekst]" custT="1"/>
      <dgm:spPr>
        <a:noFill/>
        <a:ln>
          <a:solidFill>
            <a:schemeClr val="tx1"/>
          </a:solidFill>
        </a:ln>
      </dgm:spPr>
      <dgm:t>
        <a:bodyPr/>
        <a:lstStyle/>
        <a:p>
          <a:r>
            <a:rPr lang="en-US" sz="1000" b="1" dirty="0" err="1" smtClean="0">
              <a:latin typeface="Arial" pitchFamily="34" charset="0"/>
              <a:cs typeface="Arial" pitchFamily="34" charset="0"/>
            </a:rPr>
            <a:t>Militær</a:t>
          </a:r>
          <a:r>
            <a:rPr lang="en-US" sz="1000" b="1" dirty="0" smtClean="0">
              <a:latin typeface="Arial" pitchFamily="34" charset="0"/>
              <a:cs typeface="Arial" pitchFamily="34" charset="0"/>
            </a:rPr>
            <a:t> </a:t>
          </a:r>
          <a:r>
            <a:rPr lang="en-US" sz="1000" b="1" dirty="0" err="1" smtClean="0">
              <a:latin typeface="Arial" pitchFamily="34" charset="0"/>
              <a:cs typeface="Arial" pitchFamily="34" charset="0"/>
            </a:rPr>
            <a:t>Akademiuddannelse</a:t>
          </a:r>
          <a:endParaRPr lang="en-US" sz="1000" b="1" dirty="0" smtClean="0">
            <a:latin typeface="Arial" pitchFamily="34" charset="0"/>
            <a:cs typeface="Arial" pitchFamily="34" charset="0"/>
          </a:endParaRPr>
        </a:p>
        <a:p>
          <a:r>
            <a:rPr lang="en-US" sz="1000" b="1" dirty="0" smtClean="0">
              <a:latin typeface="Arial" pitchFamily="34" charset="0"/>
              <a:cs typeface="Arial" pitchFamily="34" charset="0"/>
            </a:rPr>
            <a:t>(Niveau-5</a:t>
          </a:r>
          <a:r>
            <a:rPr lang="en-US" sz="1000" b="1" dirty="0" smtClean="0">
              <a:latin typeface="Arial" pitchFamily="34" charset="0"/>
              <a:cs typeface="Arial" pitchFamily="34" charset="0"/>
            </a:rPr>
            <a:t>)</a:t>
          </a:r>
          <a:endParaRPr lang="da-DK" sz="1000" b="1" dirty="0"/>
        </a:p>
      </dgm:t>
    </dgm:pt>
    <dgm:pt modelId="{8AE0047B-634B-4AB6-BBAD-FCAB5C7A9704}" type="parTrans" cxnId="{8AFA315C-87BF-43B9-AE8E-47856DB46527}">
      <dgm:prSet/>
      <dgm:spPr/>
      <dgm:t>
        <a:bodyPr/>
        <a:lstStyle/>
        <a:p>
          <a:endParaRPr lang="da-DK"/>
        </a:p>
      </dgm:t>
    </dgm:pt>
    <dgm:pt modelId="{BA52CA74-9FA8-4A06-A2F2-0B0C2D5E43F4}" type="sibTrans" cxnId="{8AFA315C-87BF-43B9-AE8E-47856DB46527}">
      <dgm:prSet/>
      <dgm:spPr/>
      <dgm:t>
        <a:bodyPr/>
        <a:lstStyle/>
        <a:p>
          <a:endParaRPr lang="da-DK"/>
        </a:p>
      </dgm:t>
    </dgm:pt>
    <dgm:pt modelId="{D43D94F7-ADE7-4BB1-BBDA-7D648FC918B5}">
      <dgm:prSet phldrT="[Tekst]" custT="1">
        <dgm:style>
          <a:lnRef idx="2">
            <a:schemeClr val="accent2">
              <a:shade val="50000"/>
            </a:schemeClr>
          </a:lnRef>
          <a:fillRef idx="1">
            <a:schemeClr val="accent2"/>
          </a:fillRef>
          <a:effectRef idx="0">
            <a:schemeClr val="accent2"/>
          </a:effectRef>
          <a:fontRef idx="minor">
            <a:schemeClr val="lt1"/>
          </a:fontRef>
        </dgm:style>
      </dgm:prSet>
      <dgm:spPr>
        <a:solidFill>
          <a:schemeClr val="bg1"/>
        </a:solidFill>
        <a:ln>
          <a:solidFill>
            <a:schemeClr val="tx1"/>
          </a:solidFill>
        </a:ln>
      </dgm:spPr>
      <dgm:t>
        <a:bodyPr/>
        <a:lstStyle/>
        <a:p>
          <a:r>
            <a:rPr lang="da-DK" sz="1000" b="1" dirty="0" smtClean="0">
              <a:latin typeface="Arial" panose="020B0604020202020204" pitchFamily="34" charset="0"/>
              <a:cs typeface="Arial" panose="020B0604020202020204" pitchFamily="34" charset="0"/>
            </a:rPr>
            <a:t>Oversergentuddannelse</a:t>
          </a:r>
          <a:endParaRPr lang="da-DK" sz="1000" b="1" dirty="0">
            <a:latin typeface="Arial" panose="020B0604020202020204" pitchFamily="34" charset="0"/>
            <a:cs typeface="Arial" panose="020B0604020202020204" pitchFamily="34" charset="0"/>
          </a:endParaRPr>
        </a:p>
      </dgm:t>
    </dgm:pt>
    <dgm:pt modelId="{AE3ED5BF-4B4F-4F42-A756-C90D946EEDC3}" type="parTrans" cxnId="{CAA399B9-2A21-4123-9046-5D6D50984D57}">
      <dgm:prSet/>
      <dgm:spPr/>
      <dgm:t>
        <a:bodyPr/>
        <a:lstStyle/>
        <a:p>
          <a:endParaRPr lang="da-DK"/>
        </a:p>
      </dgm:t>
    </dgm:pt>
    <dgm:pt modelId="{94EEA146-5431-4F38-A1E3-5163AA260912}" type="sibTrans" cxnId="{CAA399B9-2A21-4123-9046-5D6D50984D57}">
      <dgm:prSet/>
      <dgm:spPr/>
      <dgm:t>
        <a:bodyPr/>
        <a:lstStyle/>
        <a:p>
          <a:endParaRPr lang="da-DK"/>
        </a:p>
      </dgm:t>
    </dgm:pt>
    <dgm:pt modelId="{0D8CAF19-235E-4750-B393-F02B8A82FEA9}">
      <dgm:prSet phldrT="[Tekst]" custT="1"/>
      <dgm:spPr>
        <a:ln>
          <a:solidFill>
            <a:schemeClr val="tx1"/>
          </a:solidFill>
        </a:ln>
      </dgm:spPr>
      <dgm:t>
        <a:bodyPr/>
        <a:lstStyle/>
        <a:p>
          <a:r>
            <a:rPr lang="da-DK" sz="1000" b="1" dirty="0" smtClean="0">
              <a:latin typeface="Arial" panose="020B0604020202020204" pitchFamily="34" charset="0"/>
              <a:cs typeface="Arial" panose="020B0604020202020204" pitchFamily="34" charset="0"/>
            </a:rPr>
            <a:t>Grundlæggende sergentuddannelse</a:t>
          </a:r>
          <a:endParaRPr lang="da-DK" sz="1000" b="1" dirty="0">
            <a:latin typeface="Arial" panose="020B0604020202020204" pitchFamily="34" charset="0"/>
            <a:cs typeface="Arial" panose="020B0604020202020204" pitchFamily="34" charset="0"/>
          </a:endParaRPr>
        </a:p>
      </dgm:t>
    </dgm:pt>
    <dgm:pt modelId="{BCDB31F1-A3EB-46D9-B7B2-9D4D4FA94D86}" type="parTrans" cxnId="{83229515-8F34-40A2-B75C-84230C35921A}">
      <dgm:prSet/>
      <dgm:spPr/>
      <dgm:t>
        <a:bodyPr/>
        <a:lstStyle/>
        <a:p>
          <a:endParaRPr lang="da-DK"/>
        </a:p>
      </dgm:t>
    </dgm:pt>
    <dgm:pt modelId="{AA6C43FA-926D-4E27-AA72-FB2CE2D27165}" type="sibTrans" cxnId="{83229515-8F34-40A2-B75C-84230C35921A}">
      <dgm:prSet/>
      <dgm:spPr/>
      <dgm:t>
        <a:bodyPr/>
        <a:lstStyle/>
        <a:p>
          <a:endParaRPr lang="da-DK"/>
        </a:p>
      </dgm:t>
    </dgm:pt>
    <dgm:pt modelId="{BCAA4EE4-402F-4CC8-9420-3DE2ECABFBF7}">
      <dgm:prSet phldrT="[Tekst]" custT="1">
        <dgm:style>
          <a:lnRef idx="2">
            <a:schemeClr val="accent2">
              <a:shade val="50000"/>
            </a:schemeClr>
          </a:lnRef>
          <a:fillRef idx="1">
            <a:schemeClr val="accent2"/>
          </a:fillRef>
          <a:effectRef idx="0">
            <a:schemeClr val="accent2"/>
          </a:effectRef>
          <a:fontRef idx="minor">
            <a:schemeClr val="lt1"/>
          </a:fontRef>
        </dgm:style>
      </dgm:prSet>
      <dgm:spPr>
        <a:noFill/>
        <a:ln>
          <a:solidFill>
            <a:schemeClr val="tx1"/>
          </a:solidFill>
        </a:ln>
      </dgm:spPr>
      <dgm:t>
        <a:bodyPr/>
        <a:lstStyle/>
        <a:p>
          <a:r>
            <a:rPr lang="da-DK" sz="1000" b="1" dirty="0" smtClean="0">
              <a:latin typeface="Arial" panose="020B0604020202020204" pitchFamily="34" charset="0"/>
              <a:cs typeface="Arial" panose="020B0604020202020204" pitchFamily="34" charset="0"/>
            </a:rPr>
            <a:t>Master i Militære studier</a:t>
          </a:r>
        </a:p>
        <a:p>
          <a:r>
            <a:rPr lang="da-DK" sz="1000" b="1" dirty="0" smtClean="0">
              <a:latin typeface="Arial" panose="020B0604020202020204" pitchFamily="34" charset="0"/>
              <a:cs typeface="Arial" panose="020B0604020202020204" pitchFamily="34" charset="0"/>
            </a:rPr>
            <a:t>(niveau 7)</a:t>
          </a:r>
          <a:endParaRPr lang="da-DK" sz="1000" b="1" dirty="0">
            <a:latin typeface="Arial" panose="020B0604020202020204" pitchFamily="34" charset="0"/>
            <a:cs typeface="Arial" panose="020B0604020202020204" pitchFamily="34" charset="0"/>
          </a:endParaRPr>
        </a:p>
      </dgm:t>
    </dgm:pt>
    <dgm:pt modelId="{685CA93D-B9F1-4B9C-9D6C-71C7E9419B9B}" type="parTrans" cxnId="{25A18320-434A-48A6-8B95-A3361724FD44}">
      <dgm:prSet/>
      <dgm:spPr/>
      <dgm:t>
        <a:bodyPr/>
        <a:lstStyle/>
        <a:p>
          <a:endParaRPr lang="da-DK"/>
        </a:p>
      </dgm:t>
    </dgm:pt>
    <dgm:pt modelId="{09A60CAE-0FF9-4E6C-9246-2546C47EBCA3}" type="sibTrans" cxnId="{25A18320-434A-48A6-8B95-A3361724FD44}">
      <dgm:prSet/>
      <dgm:spPr/>
      <dgm:t>
        <a:bodyPr/>
        <a:lstStyle/>
        <a:p>
          <a:endParaRPr lang="da-DK"/>
        </a:p>
      </dgm:t>
    </dgm:pt>
    <dgm:pt modelId="{BB1A746C-4C16-4490-AD47-EA7BA9AF3D6D}">
      <dgm:prSet phldrT="[Tekst]" custT="1">
        <dgm:style>
          <a:lnRef idx="2">
            <a:schemeClr val="accent2">
              <a:shade val="50000"/>
            </a:schemeClr>
          </a:lnRef>
          <a:fillRef idx="1">
            <a:schemeClr val="accent2"/>
          </a:fillRef>
          <a:effectRef idx="0">
            <a:schemeClr val="accent2"/>
          </a:effectRef>
          <a:fontRef idx="minor">
            <a:schemeClr val="lt1"/>
          </a:fontRef>
        </dgm:style>
      </dgm:prSet>
      <dgm:spPr>
        <a:noFill/>
        <a:ln>
          <a:solidFill>
            <a:schemeClr val="tx1"/>
          </a:solidFill>
        </a:ln>
      </dgm:spPr>
      <dgm:t>
        <a:bodyPr/>
        <a:lstStyle/>
        <a:p>
          <a:r>
            <a:rPr lang="da-DK" sz="1000" b="1" dirty="0" smtClean="0">
              <a:latin typeface="Arial" panose="020B0604020202020204" pitchFamily="34" charset="0"/>
              <a:cs typeface="Arial" panose="020B0604020202020204" pitchFamily="34" charset="0"/>
            </a:rPr>
            <a:t>Føringskursus</a:t>
          </a:r>
          <a:endParaRPr lang="da-DK" sz="1000" b="1" dirty="0">
            <a:latin typeface="Arial" panose="020B0604020202020204" pitchFamily="34" charset="0"/>
            <a:cs typeface="Arial" panose="020B0604020202020204" pitchFamily="34" charset="0"/>
          </a:endParaRPr>
        </a:p>
      </dgm:t>
    </dgm:pt>
    <dgm:pt modelId="{E4648510-E1E3-45C8-972B-05ACADE8970A}" type="parTrans" cxnId="{68B13EC7-56E6-4B1C-A244-489FF3CADDB3}">
      <dgm:prSet/>
      <dgm:spPr/>
      <dgm:t>
        <a:bodyPr/>
        <a:lstStyle/>
        <a:p>
          <a:endParaRPr lang="da-DK"/>
        </a:p>
      </dgm:t>
    </dgm:pt>
    <dgm:pt modelId="{44BCBCE0-E4DF-42FB-A210-33EDC00427C4}" type="sibTrans" cxnId="{68B13EC7-56E6-4B1C-A244-489FF3CADDB3}">
      <dgm:prSet/>
      <dgm:spPr/>
      <dgm:t>
        <a:bodyPr/>
        <a:lstStyle/>
        <a:p>
          <a:endParaRPr lang="da-DK"/>
        </a:p>
      </dgm:t>
    </dgm:pt>
    <dgm:pt modelId="{5680941B-6B8C-4868-BF9A-5C1C3C7E8E3B}" type="pres">
      <dgm:prSet presAssocID="{52899F05-814E-468C-8200-FCCCFED40070}" presName="compositeShape" presStyleCnt="0">
        <dgm:presLayoutVars>
          <dgm:dir val="rev"/>
          <dgm:resizeHandles/>
        </dgm:presLayoutVars>
      </dgm:prSet>
      <dgm:spPr/>
      <dgm:t>
        <a:bodyPr/>
        <a:lstStyle/>
        <a:p>
          <a:endParaRPr lang="da-DK"/>
        </a:p>
      </dgm:t>
    </dgm:pt>
    <dgm:pt modelId="{90221853-56CB-40FF-A58D-FD84321377DF}" type="pres">
      <dgm:prSet presAssocID="{52899F05-814E-468C-8200-FCCCFED40070}" presName="pyramid" presStyleLbl="node1" presStyleIdx="0" presStyleCnt="1" custAng="0" custScaleX="113364" custLinFactNeighborX="15127" custLinFactNeighborY="233"/>
      <dgm:spPr/>
      <dgm:t>
        <a:bodyPr/>
        <a:lstStyle/>
        <a:p>
          <a:endParaRPr lang="da-DK"/>
        </a:p>
      </dgm:t>
    </dgm:pt>
    <dgm:pt modelId="{D1DE8B26-0095-4B18-B953-F61F97091420}" type="pres">
      <dgm:prSet presAssocID="{52899F05-814E-468C-8200-FCCCFED40070}" presName="theList" presStyleCnt="0"/>
      <dgm:spPr/>
      <dgm:t>
        <a:bodyPr/>
        <a:lstStyle/>
        <a:p>
          <a:endParaRPr lang="da-DK"/>
        </a:p>
      </dgm:t>
    </dgm:pt>
    <dgm:pt modelId="{55B002DF-D543-4D38-A638-2AC174DD8C26}" type="pres">
      <dgm:prSet presAssocID="{BCAA4EE4-402F-4CC8-9420-3DE2ECABFBF7}" presName="aNode" presStyleLbl="fgAcc1" presStyleIdx="0" presStyleCnt="5" custScaleX="68924" custLinFactY="-31905" custLinFactNeighborX="-2979" custLinFactNeighborY="-100000">
        <dgm:presLayoutVars>
          <dgm:bulletEnabled val="1"/>
        </dgm:presLayoutVars>
      </dgm:prSet>
      <dgm:spPr/>
      <dgm:t>
        <a:bodyPr/>
        <a:lstStyle/>
        <a:p>
          <a:endParaRPr lang="da-DK"/>
        </a:p>
      </dgm:t>
    </dgm:pt>
    <dgm:pt modelId="{33FC8876-9A43-4545-994B-AC635B8D5DEA}" type="pres">
      <dgm:prSet presAssocID="{BCAA4EE4-402F-4CC8-9420-3DE2ECABFBF7}" presName="aSpace" presStyleCnt="0"/>
      <dgm:spPr/>
      <dgm:t>
        <a:bodyPr/>
        <a:lstStyle/>
        <a:p>
          <a:endParaRPr lang="da-DK"/>
        </a:p>
      </dgm:t>
    </dgm:pt>
    <dgm:pt modelId="{70C7999E-800F-4802-94FD-5539E0F7E66D}" type="pres">
      <dgm:prSet presAssocID="{BB1A746C-4C16-4490-AD47-EA7BA9AF3D6D}" presName="aNode" presStyleLbl="fgAcc1" presStyleIdx="1" presStyleCnt="5" custScaleX="69766" custLinFactNeighborX="-2010" custLinFactNeighborY="-3743">
        <dgm:presLayoutVars>
          <dgm:bulletEnabled val="1"/>
        </dgm:presLayoutVars>
      </dgm:prSet>
      <dgm:spPr/>
      <dgm:t>
        <a:bodyPr/>
        <a:lstStyle/>
        <a:p>
          <a:endParaRPr lang="da-DK"/>
        </a:p>
      </dgm:t>
    </dgm:pt>
    <dgm:pt modelId="{0826E92C-DA53-4F33-B33C-526F0367F6AF}" type="pres">
      <dgm:prSet presAssocID="{BB1A746C-4C16-4490-AD47-EA7BA9AF3D6D}" presName="aSpace" presStyleCnt="0"/>
      <dgm:spPr/>
    </dgm:pt>
    <dgm:pt modelId="{9594E70D-3FF6-4E11-A1BD-18A861548B87}" type="pres">
      <dgm:prSet presAssocID="{F0B53EA6-3DE7-4257-BF19-2226CB528A56}" presName="aNode" presStyleLbl="fgAcc1" presStyleIdx="2" presStyleCnt="5" custScaleX="68924" custLinFactY="24672" custLinFactNeighborX="-2220" custLinFactNeighborY="100000">
        <dgm:presLayoutVars>
          <dgm:bulletEnabled val="1"/>
        </dgm:presLayoutVars>
      </dgm:prSet>
      <dgm:spPr/>
      <dgm:t>
        <a:bodyPr/>
        <a:lstStyle/>
        <a:p>
          <a:endParaRPr lang="da-DK"/>
        </a:p>
      </dgm:t>
    </dgm:pt>
    <dgm:pt modelId="{E9016202-2C7F-44D9-9445-F22B64D090A2}" type="pres">
      <dgm:prSet presAssocID="{F0B53EA6-3DE7-4257-BF19-2226CB528A56}" presName="aSpace" presStyleCnt="0"/>
      <dgm:spPr/>
      <dgm:t>
        <a:bodyPr/>
        <a:lstStyle/>
        <a:p>
          <a:endParaRPr lang="da-DK"/>
        </a:p>
      </dgm:t>
    </dgm:pt>
    <dgm:pt modelId="{311327A0-6EEC-4FA5-9D5B-EE0D2497EFA0}" type="pres">
      <dgm:prSet presAssocID="{D43D94F7-ADE7-4BB1-BBDA-7D648FC918B5}" presName="aNode" presStyleLbl="fgAcc1" presStyleIdx="3" presStyleCnt="5" custScaleX="68924" custLinFactY="50576" custLinFactNeighborX="-3129" custLinFactNeighborY="100000">
        <dgm:presLayoutVars>
          <dgm:bulletEnabled val="1"/>
        </dgm:presLayoutVars>
      </dgm:prSet>
      <dgm:spPr/>
      <dgm:t>
        <a:bodyPr/>
        <a:lstStyle/>
        <a:p>
          <a:endParaRPr lang="da-DK"/>
        </a:p>
      </dgm:t>
    </dgm:pt>
    <dgm:pt modelId="{22E4E231-6FAF-46A4-8BE4-F7A9E9A2AF5D}" type="pres">
      <dgm:prSet presAssocID="{D43D94F7-ADE7-4BB1-BBDA-7D648FC918B5}" presName="aSpace" presStyleCnt="0"/>
      <dgm:spPr/>
      <dgm:t>
        <a:bodyPr/>
        <a:lstStyle/>
        <a:p>
          <a:endParaRPr lang="da-DK"/>
        </a:p>
      </dgm:t>
    </dgm:pt>
    <dgm:pt modelId="{39B87CB2-0E75-471B-AE08-E750335A76EE}" type="pres">
      <dgm:prSet presAssocID="{0D8CAF19-235E-4750-B393-F02B8A82FEA9}" presName="aNode" presStyleLbl="fgAcc1" presStyleIdx="4" presStyleCnt="5" custScaleX="67346" custLinFactY="72035" custLinFactNeighborX="-2409" custLinFactNeighborY="100000">
        <dgm:presLayoutVars>
          <dgm:bulletEnabled val="1"/>
        </dgm:presLayoutVars>
      </dgm:prSet>
      <dgm:spPr/>
      <dgm:t>
        <a:bodyPr/>
        <a:lstStyle/>
        <a:p>
          <a:endParaRPr lang="da-DK"/>
        </a:p>
      </dgm:t>
    </dgm:pt>
    <dgm:pt modelId="{3E507746-403B-4D6C-95D6-53D6A63840B7}" type="pres">
      <dgm:prSet presAssocID="{0D8CAF19-235E-4750-B393-F02B8A82FEA9}" presName="aSpace" presStyleCnt="0"/>
      <dgm:spPr/>
      <dgm:t>
        <a:bodyPr/>
        <a:lstStyle/>
        <a:p>
          <a:endParaRPr lang="da-DK"/>
        </a:p>
      </dgm:t>
    </dgm:pt>
  </dgm:ptLst>
  <dgm:cxnLst>
    <dgm:cxn modelId="{379015D5-54B0-4EAC-BF55-A1B4C22F4D41}" type="presOf" srcId="{BB1A746C-4C16-4490-AD47-EA7BA9AF3D6D}" destId="{70C7999E-800F-4802-94FD-5539E0F7E66D}" srcOrd="0" destOrd="0" presId="urn:microsoft.com/office/officeart/2005/8/layout/pyramid2"/>
    <dgm:cxn modelId="{9A95F50A-DB67-48AB-AB09-496D574EF01B}" type="presOf" srcId="{52899F05-814E-468C-8200-FCCCFED40070}" destId="{5680941B-6B8C-4868-BF9A-5C1C3C7E8E3B}" srcOrd="0" destOrd="0" presId="urn:microsoft.com/office/officeart/2005/8/layout/pyramid2"/>
    <dgm:cxn modelId="{CAA399B9-2A21-4123-9046-5D6D50984D57}" srcId="{52899F05-814E-468C-8200-FCCCFED40070}" destId="{D43D94F7-ADE7-4BB1-BBDA-7D648FC918B5}" srcOrd="3" destOrd="0" parTransId="{AE3ED5BF-4B4F-4F42-A756-C90D946EEDC3}" sibTransId="{94EEA146-5431-4F38-A1E3-5163AA260912}"/>
    <dgm:cxn modelId="{83229515-8F34-40A2-B75C-84230C35921A}" srcId="{52899F05-814E-468C-8200-FCCCFED40070}" destId="{0D8CAF19-235E-4750-B393-F02B8A82FEA9}" srcOrd="4" destOrd="0" parTransId="{BCDB31F1-A3EB-46D9-B7B2-9D4D4FA94D86}" sibTransId="{AA6C43FA-926D-4E27-AA72-FB2CE2D27165}"/>
    <dgm:cxn modelId="{68B13EC7-56E6-4B1C-A244-489FF3CADDB3}" srcId="{52899F05-814E-468C-8200-FCCCFED40070}" destId="{BB1A746C-4C16-4490-AD47-EA7BA9AF3D6D}" srcOrd="1" destOrd="0" parTransId="{E4648510-E1E3-45C8-972B-05ACADE8970A}" sibTransId="{44BCBCE0-E4DF-42FB-A210-33EDC00427C4}"/>
    <dgm:cxn modelId="{8AFA315C-87BF-43B9-AE8E-47856DB46527}" srcId="{52899F05-814E-468C-8200-FCCCFED40070}" destId="{F0B53EA6-3DE7-4257-BF19-2226CB528A56}" srcOrd="2" destOrd="0" parTransId="{8AE0047B-634B-4AB6-BBAD-FCAB5C7A9704}" sibTransId="{BA52CA74-9FA8-4A06-A2F2-0B0C2D5E43F4}"/>
    <dgm:cxn modelId="{56D7EF46-B840-43AE-989E-BA5F3840D419}" type="presOf" srcId="{D43D94F7-ADE7-4BB1-BBDA-7D648FC918B5}" destId="{311327A0-6EEC-4FA5-9D5B-EE0D2497EFA0}" srcOrd="0" destOrd="0" presId="urn:microsoft.com/office/officeart/2005/8/layout/pyramid2"/>
    <dgm:cxn modelId="{25A18320-434A-48A6-8B95-A3361724FD44}" srcId="{52899F05-814E-468C-8200-FCCCFED40070}" destId="{BCAA4EE4-402F-4CC8-9420-3DE2ECABFBF7}" srcOrd="0" destOrd="0" parTransId="{685CA93D-B9F1-4B9C-9D6C-71C7E9419B9B}" sibTransId="{09A60CAE-0FF9-4E6C-9246-2546C47EBCA3}"/>
    <dgm:cxn modelId="{0F4F1EB3-6A7D-407A-842B-6C9DB2191B5E}" type="presOf" srcId="{0D8CAF19-235E-4750-B393-F02B8A82FEA9}" destId="{39B87CB2-0E75-471B-AE08-E750335A76EE}" srcOrd="0" destOrd="0" presId="urn:microsoft.com/office/officeart/2005/8/layout/pyramid2"/>
    <dgm:cxn modelId="{A03A5BB2-7D3E-402C-81F1-F6D34250EA86}" type="presOf" srcId="{F0B53EA6-3DE7-4257-BF19-2226CB528A56}" destId="{9594E70D-3FF6-4E11-A1BD-18A861548B87}" srcOrd="0" destOrd="0" presId="urn:microsoft.com/office/officeart/2005/8/layout/pyramid2"/>
    <dgm:cxn modelId="{4697F133-8B0D-48F9-B17F-22E1E46A1399}" type="presOf" srcId="{BCAA4EE4-402F-4CC8-9420-3DE2ECABFBF7}" destId="{55B002DF-D543-4D38-A638-2AC174DD8C26}" srcOrd="0" destOrd="0" presId="urn:microsoft.com/office/officeart/2005/8/layout/pyramid2"/>
    <dgm:cxn modelId="{11445DF6-BF2E-4B61-9B2C-D4E069D4297F}" type="presParOf" srcId="{5680941B-6B8C-4868-BF9A-5C1C3C7E8E3B}" destId="{90221853-56CB-40FF-A58D-FD84321377DF}" srcOrd="0" destOrd="0" presId="urn:microsoft.com/office/officeart/2005/8/layout/pyramid2"/>
    <dgm:cxn modelId="{A3EECF62-C986-4E9D-AC41-3B23A38436F9}" type="presParOf" srcId="{5680941B-6B8C-4868-BF9A-5C1C3C7E8E3B}" destId="{D1DE8B26-0095-4B18-B953-F61F97091420}" srcOrd="1" destOrd="0" presId="urn:microsoft.com/office/officeart/2005/8/layout/pyramid2"/>
    <dgm:cxn modelId="{D4574490-DB04-46BE-94C4-E3F1B9BEE6D8}" type="presParOf" srcId="{D1DE8B26-0095-4B18-B953-F61F97091420}" destId="{55B002DF-D543-4D38-A638-2AC174DD8C26}" srcOrd="0" destOrd="0" presId="urn:microsoft.com/office/officeart/2005/8/layout/pyramid2"/>
    <dgm:cxn modelId="{69BC5E3E-41E2-4298-B072-B7E3F45CC548}" type="presParOf" srcId="{D1DE8B26-0095-4B18-B953-F61F97091420}" destId="{33FC8876-9A43-4545-994B-AC635B8D5DEA}" srcOrd="1" destOrd="0" presId="urn:microsoft.com/office/officeart/2005/8/layout/pyramid2"/>
    <dgm:cxn modelId="{DD16346A-31CF-405D-B021-66055BFFD84E}" type="presParOf" srcId="{D1DE8B26-0095-4B18-B953-F61F97091420}" destId="{70C7999E-800F-4802-94FD-5539E0F7E66D}" srcOrd="2" destOrd="0" presId="urn:microsoft.com/office/officeart/2005/8/layout/pyramid2"/>
    <dgm:cxn modelId="{67817CFF-3D9E-463A-A430-7BD45D2ABA6E}" type="presParOf" srcId="{D1DE8B26-0095-4B18-B953-F61F97091420}" destId="{0826E92C-DA53-4F33-B33C-526F0367F6AF}" srcOrd="3" destOrd="0" presId="urn:microsoft.com/office/officeart/2005/8/layout/pyramid2"/>
    <dgm:cxn modelId="{3A77D9A5-2E79-42A8-869F-F2C8C17C54D8}" type="presParOf" srcId="{D1DE8B26-0095-4B18-B953-F61F97091420}" destId="{9594E70D-3FF6-4E11-A1BD-18A861548B87}" srcOrd="4" destOrd="0" presId="urn:microsoft.com/office/officeart/2005/8/layout/pyramid2"/>
    <dgm:cxn modelId="{E4C27179-3869-4E8E-ACB5-54BA2FBD6ED5}" type="presParOf" srcId="{D1DE8B26-0095-4B18-B953-F61F97091420}" destId="{E9016202-2C7F-44D9-9445-F22B64D090A2}" srcOrd="5" destOrd="0" presId="urn:microsoft.com/office/officeart/2005/8/layout/pyramid2"/>
    <dgm:cxn modelId="{5A720B58-4D56-427B-B04E-16B18987478D}" type="presParOf" srcId="{D1DE8B26-0095-4B18-B953-F61F97091420}" destId="{311327A0-6EEC-4FA5-9D5B-EE0D2497EFA0}" srcOrd="6" destOrd="0" presId="urn:microsoft.com/office/officeart/2005/8/layout/pyramid2"/>
    <dgm:cxn modelId="{F363839E-E008-4F46-9758-B27FB988F356}" type="presParOf" srcId="{D1DE8B26-0095-4B18-B953-F61F97091420}" destId="{22E4E231-6FAF-46A4-8BE4-F7A9E9A2AF5D}" srcOrd="7" destOrd="0" presId="urn:microsoft.com/office/officeart/2005/8/layout/pyramid2"/>
    <dgm:cxn modelId="{8D4C7074-4A12-4930-B468-E46D6232D211}" type="presParOf" srcId="{D1DE8B26-0095-4B18-B953-F61F97091420}" destId="{39B87CB2-0E75-471B-AE08-E750335A76EE}" srcOrd="8" destOrd="0" presId="urn:microsoft.com/office/officeart/2005/8/layout/pyramid2"/>
    <dgm:cxn modelId="{AADA2F73-DACF-4E3E-8C74-B78E5B678498}" type="presParOf" srcId="{D1DE8B26-0095-4B18-B953-F61F97091420}" destId="{3E507746-403B-4D6C-95D6-53D6A63840B7}" srcOrd="9"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2F5380-8935-4253-98B7-827781CCAAB4}">
      <dsp:nvSpPr>
        <dsp:cNvPr id="0" name=""/>
        <dsp:cNvSpPr/>
      </dsp:nvSpPr>
      <dsp:spPr>
        <a:xfrm>
          <a:off x="0" y="0"/>
          <a:ext cx="8189798" cy="216522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663AB-3284-4718-A01C-E5540C9C185B}">
      <dsp:nvSpPr>
        <dsp:cNvPr id="0" name=""/>
        <dsp:cNvSpPr/>
      </dsp:nvSpPr>
      <dsp:spPr>
        <a:xfrm>
          <a:off x="247949" y="288696"/>
          <a:ext cx="1789278" cy="1587830"/>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6F5A3-B6ED-4CD1-9C32-CD5213C6CF52}">
      <dsp:nvSpPr>
        <dsp:cNvPr id="0" name=""/>
        <dsp:cNvSpPr/>
      </dsp:nvSpPr>
      <dsp:spPr>
        <a:xfrm rot="10800000">
          <a:off x="24794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GRP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GRP</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GSU/ALM</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GSU/STP</a:t>
          </a:r>
          <a:endParaRPr lang="da-DK" sz="1100" u="none" kern="1200" dirty="0"/>
        </a:p>
        <a:p>
          <a:pPr marL="114300" lvl="2" indent="-57150" algn="l" defTabSz="488950">
            <a:lnSpc>
              <a:spcPct val="90000"/>
            </a:lnSpc>
            <a:spcBef>
              <a:spcPct val="0"/>
            </a:spcBef>
            <a:spcAft>
              <a:spcPct val="15000"/>
            </a:spcAft>
            <a:buChar char="••"/>
          </a:pPr>
          <a:endParaRPr lang="da-DK" sz="1100" u="none" kern="1200" dirty="0"/>
        </a:p>
      </dsp:txBody>
      <dsp:txXfrm rot="10800000">
        <a:off x="302975" y="2165223"/>
        <a:ext cx="1679226" cy="2591357"/>
      </dsp:txXfrm>
    </dsp:sp>
    <dsp:sp modelId="{46293599-CD18-456C-B523-2643D9780D34}">
      <dsp:nvSpPr>
        <dsp:cNvPr id="0" name=""/>
        <dsp:cNvSpPr/>
      </dsp:nvSpPr>
      <dsp:spPr>
        <a:xfrm>
          <a:off x="2216156" y="288696"/>
          <a:ext cx="1789278" cy="1587830"/>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6D7BD5-A1F2-482B-BE8E-F42EC77518A9}">
      <dsp:nvSpPr>
        <dsp:cNvPr id="0" name=""/>
        <dsp:cNvSpPr/>
      </dsp:nvSpPr>
      <dsp:spPr>
        <a:xfrm rot="10800000">
          <a:off x="2216156"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Over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DEL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DEL</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OSU</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AM</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GTH</a:t>
          </a:r>
          <a:endParaRPr lang="da-DK" sz="1100" u="none" kern="1200" dirty="0"/>
        </a:p>
        <a:p>
          <a:pPr marL="171450" lvl="3" indent="-57150" algn="l" defTabSz="488950">
            <a:lnSpc>
              <a:spcPct val="90000"/>
            </a:lnSpc>
            <a:spcBef>
              <a:spcPct val="0"/>
            </a:spcBef>
            <a:spcAft>
              <a:spcPct val="15000"/>
            </a:spcAft>
            <a:buChar char="••"/>
          </a:pP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2271182" y="2165223"/>
        <a:ext cx="1679226" cy="2591357"/>
      </dsp:txXfrm>
    </dsp:sp>
    <dsp:sp modelId="{82F78160-1442-452D-8541-31D68F328FFD}">
      <dsp:nvSpPr>
        <dsp:cNvPr id="0" name=""/>
        <dsp:cNvSpPr/>
      </dsp:nvSpPr>
      <dsp:spPr>
        <a:xfrm>
          <a:off x="4184362" y="288696"/>
          <a:ext cx="1789278" cy="1587830"/>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63C2DC-84AB-4BE7-9FA4-CD6B36392FCB}">
      <dsp:nvSpPr>
        <dsp:cNvPr id="0" name=""/>
        <dsp:cNvSpPr/>
      </dsp:nvSpPr>
      <dsp:spPr>
        <a:xfrm rot="10800000">
          <a:off x="4184362"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622300">
            <a:lnSpc>
              <a:spcPct val="90000"/>
            </a:lnSpc>
            <a:spcBef>
              <a:spcPct val="0"/>
            </a:spcBef>
            <a:spcAft>
              <a:spcPct val="35000"/>
            </a:spcAft>
          </a:pPr>
          <a:r>
            <a:rPr lang="da-DK" sz="1400" b="1" kern="1200" dirty="0" smtClean="0"/>
            <a:t>Seniorsergent</a:t>
          </a:r>
          <a:endParaRPr lang="da-DK" sz="1400"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KMP </a:t>
          </a:r>
          <a:r>
            <a:rPr lang="da-DK" sz="1100" u="none" kern="1200" dirty="0" smtClean="0">
              <a:sym typeface="Wingdings" panose="05000000000000000000" pitchFamily="2" charset="2"/>
            </a:rPr>
            <a:t>Krise/krig</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Ledelsesgrundlag o rammen af KMP</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CT UDD</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Specialisering</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HIK</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IO</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4239388" y="2165223"/>
        <a:ext cx="1679226" cy="2591357"/>
      </dsp:txXfrm>
    </dsp:sp>
    <dsp:sp modelId="{98E929B9-8BAA-4422-90E7-ABE3057DD78E}">
      <dsp:nvSpPr>
        <dsp:cNvPr id="0" name=""/>
        <dsp:cNvSpPr/>
      </dsp:nvSpPr>
      <dsp:spPr>
        <a:xfrm>
          <a:off x="6152569" y="288696"/>
          <a:ext cx="1789278" cy="1587830"/>
        </a:xfrm>
        <a:prstGeom prst="roundRect">
          <a:avLst>
            <a:gd name="adj" fmla="val 10000"/>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C21E64-FADE-4ECC-8520-A2129043AC4B}">
      <dsp:nvSpPr>
        <dsp:cNvPr id="0" name=""/>
        <dsp:cNvSpPr/>
      </dsp:nvSpPr>
      <dsp:spPr>
        <a:xfrm rot="10800000">
          <a:off x="615256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l" defTabSz="533400">
            <a:lnSpc>
              <a:spcPct val="90000"/>
            </a:lnSpc>
            <a:spcBef>
              <a:spcPct val="0"/>
            </a:spcBef>
            <a:spcAft>
              <a:spcPct val="35000"/>
            </a:spcAft>
          </a:pPr>
          <a:r>
            <a:rPr lang="da-DK" sz="1200" b="1" kern="1200" dirty="0" smtClean="0"/>
            <a:t>Chef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kern="1200" dirty="0"/>
        </a:p>
        <a:p>
          <a:pPr marL="57150" lvl="1" indent="-57150" algn="l" defTabSz="488950">
            <a:lnSpc>
              <a:spcPct val="90000"/>
            </a:lnSpc>
            <a:spcBef>
              <a:spcPct val="0"/>
            </a:spcBef>
            <a:spcAft>
              <a:spcPct val="15000"/>
            </a:spcAft>
            <a:buChar char="••"/>
          </a:pPr>
          <a:r>
            <a:rPr lang="da-DK" sz="1100" kern="1200" dirty="0" smtClean="0"/>
            <a:t>AFD </a:t>
          </a:r>
          <a:r>
            <a:rPr lang="da-DK" sz="1100" kern="1200" dirty="0" smtClean="0">
              <a:sym typeface="Wingdings" panose="05000000000000000000" pitchFamily="2" charset="2"/>
            </a:rPr>
            <a:t> Krise/krig</a:t>
          </a:r>
          <a:endParaRPr lang="da-DK" sz="1100" kern="1200" dirty="0" smtClean="0"/>
        </a:p>
        <a:p>
          <a:pPr marL="57150" lvl="1" indent="-57150" algn="l" defTabSz="488950">
            <a:lnSpc>
              <a:spcPct val="90000"/>
            </a:lnSpc>
            <a:spcBef>
              <a:spcPct val="0"/>
            </a:spcBef>
            <a:spcAft>
              <a:spcPct val="15000"/>
            </a:spcAft>
            <a:buChar char="••"/>
          </a:pPr>
          <a:r>
            <a:rPr lang="da-DK" sz="1100" u="sng" kern="1200" dirty="0" smtClean="0"/>
            <a:t>Ledelse</a:t>
          </a:r>
        </a:p>
        <a:p>
          <a:pPr marL="57150" lvl="1" indent="-57150" algn="l" defTabSz="488950">
            <a:lnSpc>
              <a:spcPct val="90000"/>
            </a:lnSpc>
            <a:spcBef>
              <a:spcPct val="0"/>
            </a:spcBef>
            <a:spcAft>
              <a:spcPct val="15000"/>
            </a:spcAft>
            <a:buChar char="••"/>
          </a:pPr>
          <a:r>
            <a:rPr lang="da-DK" sz="1100" kern="1200" dirty="0" smtClean="0"/>
            <a:t>Ledelsesgrundlag i rammen af AFD</a:t>
          </a:r>
        </a:p>
        <a:p>
          <a:pPr marL="57150" lvl="1" indent="-57150" algn="l" defTabSz="488950">
            <a:lnSpc>
              <a:spcPct val="90000"/>
            </a:lnSpc>
            <a:spcBef>
              <a:spcPct val="0"/>
            </a:spcBef>
            <a:spcAft>
              <a:spcPct val="15000"/>
            </a:spcAft>
            <a:buChar char="••"/>
          </a:pPr>
          <a:r>
            <a:rPr lang="da-DK" sz="1100" kern="1200" dirty="0" smtClean="0"/>
            <a:t>CT UDD</a:t>
          </a:r>
        </a:p>
        <a:p>
          <a:pPr marL="57150" lvl="1" indent="-57150" algn="l" defTabSz="488950">
            <a:lnSpc>
              <a:spcPct val="90000"/>
            </a:lnSpc>
            <a:spcBef>
              <a:spcPct val="0"/>
            </a:spcBef>
            <a:spcAft>
              <a:spcPct val="15000"/>
            </a:spcAft>
            <a:buChar char="••"/>
          </a:pPr>
          <a:r>
            <a:rPr lang="da-DK" sz="1100" u="sng" kern="1200" dirty="0" smtClean="0"/>
            <a:t>Uddannelse</a:t>
          </a:r>
        </a:p>
        <a:p>
          <a:pPr marL="57150" lvl="1" indent="-57150" algn="l" defTabSz="488950">
            <a:lnSpc>
              <a:spcPct val="90000"/>
            </a:lnSpc>
            <a:spcBef>
              <a:spcPct val="0"/>
            </a:spcBef>
            <a:spcAft>
              <a:spcPct val="15000"/>
            </a:spcAft>
            <a:buChar char="••"/>
          </a:pPr>
          <a:r>
            <a:rPr lang="da-DK" sz="1100" u="none" kern="1200" dirty="0" smtClean="0"/>
            <a:t>Yderligere </a:t>
          </a:r>
          <a:r>
            <a:rPr lang="da-DK" sz="1100" u="none" kern="1200" dirty="0" err="1" smtClean="0"/>
            <a:t>spec</a:t>
          </a:r>
          <a:r>
            <a:rPr lang="da-DK" sz="1100" u="none" kern="1200" dirty="0" smtClean="0"/>
            <a:t>.</a:t>
          </a:r>
        </a:p>
        <a:p>
          <a:pPr marL="57150" lvl="1" indent="-57150" algn="l" defTabSz="488950">
            <a:lnSpc>
              <a:spcPct val="90000"/>
            </a:lnSpc>
            <a:spcBef>
              <a:spcPct val="0"/>
            </a:spcBef>
            <a:spcAft>
              <a:spcPct val="15000"/>
            </a:spcAft>
            <a:buChar char="••"/>
          </a:pPr>
          <a:r>
            <a:rPr lang="da-DK" sz="1100" u="none" kern="1200" dirty="0" smtClean="0"/>
            <a:t>MAU</a:t>
          </a:r>
        </a:p>
        <a:p>
          <a:pPr marL="57150" lvl="1" indent="-57150" algn="l" defTabSz="488950">
            <a:lnSpc>
              <a:spcPct val="90000"/>
            </a:lnSpc>
            <a:spcBef>
              <a:spcPct val="0"/>
            </a:spcBef>
            <a:spcAft>
              <a:spcPct val="15000"/>
            </a:spcAft>
            <a:buChar char="••"/>
          </a:pPr>
          <a:r>
            <a:rPr lang="da-DK" sz="1100" u="none" kern="1200" dirty="0" smtClean="0"/>
            <a:t>NIV-6 UDD</a:t>
          </a:r>
        </a:p>
        <a:p>
          <a:pPr marL="57150" lvl="1" indent="-57150" algn="l" defTabSz="488950">
            <a:lnSpc>
              <a:spcPct val="90000"/>
            </a:lnSpc>
            <a:spcBef>
              <a:spcPct val="0"/>
            </a:spcBef>
            <a:spcAft>
              <a:spcPct val="15000"/>
            </a:spcAft>
            <a:buChar char="••"/>
          </a:pPr>
          <a:r>
            <a:rPr lang="da-DK" sz="1100" u="none" kern="1200" dirty="0" smtClean="0"/>
            <a:t>NATO KUR</a:t>
          </a:r>
          <a:endParaRPr lang="da-DK" sz="1100" kern="1200" dirty="0"/>
        </a:p>
      </dsp:txBody>
      <dsp:txXfrm rot="10800000">
        <a:off x="6207595" y="2165223"/>
        <a:ext cx="1679226" cy="25913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2F5380-8935-4253-98B7-827781CCAAB4}">
      <dsp:nvSpPr>
        <dsp:cNvPr id="0" name=""/>
        <dsp:cNvSpPr/>
      </dsp:nvSpPr>
      <dsp:spPr>
        <a:xfrm>
          <a:off x="0" y="12422"/>
          <a:ext cx="4675694" cy="2087761"/>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663AB-3284-4718-A01C-E5540C9C185B}">
      <dsp:nvSpPr>
        <dsp:cNvPr id="0" name=""/>
        <dsp:cNvSpPr/>
      </dsp:nvSpPr>
      <dsp:spPr>
        <a:xfrm>
          <a:off x="140807" y="278368"/>
          <a:ext cx="2092418" cy="1531025"/>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6F5A3-B6ED-4CD1-9C32-CD5213C6CF52}">
      <dsp:nvSpPr>
        <dsp:cNvPr id="0" name=""/>
        <dsp:cNvSpPr/>
      </dsp:nvSpPr>
      <dsp:spPr>
        <a:xfrm rot="10800000">
          <a:off x="140807" y="2087761"/>
          <a:ext cx="2092418" cy="2551709"/>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da-DK" sz="1600" kern="1200" dirty="0" smtClean="0"/>
            <a:t>GSU/ALM</a:t>
          </a:r>
          <a:endParaRPr lang="da-DK" sz="1600" kern="1200" dirty="0"/>
        </a:p>
        <a:p>
          <a:pPr marL="114300" lvl="1" indent="-114300" algn="l" defTabSz="533400">
            <a:lnSpc>
              <a:spcPct val="90000"/>
            </a:lnSpc>
            <a:spcBef>
              <a:spcPct val="0"/>
            </a:spcBef>
            <a:spcAft>
              <a:spcPct val="15000"/>
            </a:spcAft>
            <a:buChar char="••"/>
          </a:pPr>
          <a:r>
            <a:rPr lang="da-DK" sz="1200" kern="1200" dirty="0" smtClean="0"/>
            <a:t>HBU </a:t>
          </a:r>
          <a:r>
            <a:rPr lang="da-DK" sz="1200" kern="1200" dirty="0" smtClean="0">
              <a:sym typeface="Wingdings" panose="05000000000000000000" pitchFamily="2" charset="2"/>
            </a:rPr>
            <a:t>HRUSRS</a:t>
          </a:r>
          <a:endParaRPr lang="da-DK" sz="1200" kern="1200" dirty="0"/>
        </a:p>
        <a:p>
          <a:pPr marL="114300" lvl="1" indent="-114300" algn="l" defTabSz="533400">
            <a:lnSpc>
              <a:spcPct val="90000"/>
            </a:lnSpc>
            <a:spcBef>
              <a:spcPct val="0"/>
            </a:spcBef>
            <a:spcAft>
              <a:spcPct val="15000"/>
            </a:spcAft>
            <a:buChar char="••"/>
          </a:pPr>
          <a:r>
            <a:rPr lang="da-DK" sz="1200" kern="1200" dirty="0" smtClean="0"/>
            <a:t>7½ </a:t>
          </a:r>
          <a:r>
            <a:rPr lang="da-DK" sz="1200" kern="1200" dirty="0" smtClean="0"/>
            <a:t>mdr.</a:t>
          </a:r>
          <a:endParaRPr lang="da-DK" sz="1200" kern="1200" dirty="0"/>
        </a:p>
        <a:p>
          <a:pPr marL="228600" lvl="2" indent="-114300" algn="l" defTabSz="533400">
            <a:lnSpc>
              <a:spcPct val="90000"/>
            </a:lnSpc>
            <a:spcBef>
              <a:spcPct val="0"/>
            </a:spcBef>
            <a:spcAft>
              <a:spcPct val="15000"/>
            </a:spcAft>
            <a:buChar char="••"/>
          </a:pPr>
          <a:r>
            <a:rPr lang="da-DK" sz="1200" kern="1200" dirty="0" smtClean="0"/>
            <a:t>Taktisk FØ</a:t>
          </a:r>
          <a:endParaRPr lang="da-DK" sz="1200" kern="1200" dirty="0"/>
        </a:p>
        <a:p>
          <a:pPr marL="228600" lvl="2" indent="-114300" algn="l" defTabSz="533400">
            <a:lnSpc>
              <a:spcPct val="90000"/>
            </a:lnSpc>
            <a:spcBef>
              <a:spcPct val="0"/>
            </a:spcBef>
            <a:spcAft>
              <a:spcPct val="15000"/>
            </a:spcAft>
            <a:buChar char="••"/>
          </a:pPr>
          <a:r>
            <a:rPr lang="da-DK" sz="1200" kern="1200" dirty="0" smtClean="0"/>
            <a:t>Instruktør</a:t>
          </a:r>
          <a:endParaRPr lang="da-DK" sz="1200" kern="1200" dirty="0"/>
        </a:p>
        <a:p>
          <a:pPr marL="228600" lvl="2" indent="-114300" algn="l" defTabSz="533400">
            <a:lnSpc>
              <a:spcPct val="90000"/>
            </a:lnSpc>
            <a:spcBef>
              <a:spcPct val="0"/>
            </a:spcBef>
            <a:spcAft>
              <a:spcPct val="15000"/>
            </a:spcAft>
            <a:buChar char="••"/>
          </a:pPr>
          <a:r>
            <a:rPr lang="da-DK" sz="1200" kern="1200" dirty="0" smtClean="0"/>
            <a:t>Ledelse</a:t>
          </a:r>
          <a:endParaRPr lang="da-DK" sz="1200" kern="1200" dirty="0"/>
        </a:p>
        <a:p>
          <a:pPr marL="228600" lvl="2" indent="-114300" algn="l" defTabSz="533400">
            <a:lnSpc>
              <a:spcPct val="90000"/>
            </a:lnSpc>
            <a:spcBef>
              <a:spcPct val="0"/>
            </a:spcBef>
            <a:spcAft>
              <a:spcPct val="15000"/>
            </a:spcAft>
            <a:buChar char="••"/>
          </a:pPr>
          <a:r>
            <a:rPr lang="da-DK" sz="1200" kern="1200" dirty="0" smtClean="0"/>
            <a:t>SKYLE-I</a:t>
          </a:r>
          <a:endParaRPr lang="da-DK" sz="1200" kern="1200" dirty="0"/>
        </a:p>
        <a:p>
          <a:pPr marL="228600" lvl="2" indent="-114300" algn="l" defTabSz="533400">
            <a:lnSpc>
              <a:spcPct val="90000"/>
            </a:lnSpc>
            <a:spcBef>
              <a:spcPct val="0"/>
            </a:spcBef>
            <a:spcAft>
              <a:spcPct val="15000"/>
            </a:spcAft>
            <a:buChar char="••"/>
          </a:pPr>
          <a:r>
            <a:rPr lang="da-DK" sz="1200" kern="1200" dirty="0" smtClean="0"/>
            <a:t>MFT-I</a:t>
          </a:r>
          <a:endParaRPr lang="da-DK" sz="1200" kern="1200" dirty="0"/>
        </a:p>
        <a:p>
          <a:pPr marL="228600" lvl="2" indent="-114300" algn="l" defTabSz="533400">
            <a:lnSpc>
              <a:spcPct val="90000"/>
            </a:lnSpc>
            <a:spcBef>
              <a:spcPct val="0"/>
            </a:spcBef>
            <a:spcAft>
              <a:spcPct val="15000"/>
            </a:spcAft>
            <a:buChar char="••"/>
          </a:pPr>
          <a:r>
            <a:rPr lang="da-DK" sz="1200" kern="1200" dirty="0" smtClean="0"/>
            <a:t>VB i GRP</a:t>
          </a:r>
          <a:endParaRPr lang="da-DK" sz="1200" kern="1200" dirty="0"/>
        </a:p>
        <a:p>
          <a:pPr marL="228600" lvl="2" indent="-114300" algn="l" defTabSz="533400">
            <a:lnSpc>
              <a:spcPct val="90000"/>
            </a:lnSpc>
            <a:spcBef>
              <a:spcPct val="0"/>
            </a:spcBef>
            <a:spcAft>
              <a:spcPct val="15000"/>
            </a:spcAft>
            <a:buChar char="••"/>
          </a:pPr>
          <a:endParaRPr lang="da-DK" sz="1200" kern="1200" dirty="0"/>
        </a:p>
        <a:p>
          <a:pPr marL="114300" lvl="1" indent="-114300" algn="l" defTabSz="533400">
            <a:lnSpc>
              <a:spcPct val="90000"/>
            </a:lnSpc>
            <a:spcBef>
              <a:spcPct val="0"/>
            </a:spcBef>
            <a:spcAft>
              <a:spcPct val="15000"/>
            </a:spcAft>
            <a:buChar char="••"/>
          </a:pPr>
          <a:endParaRPr lang="da-DK" sz="1200" kern="1200" dirty="0"/>
        </a:p>
      </dsp:txBody>
      <dsp:txXfrm rot="10800000">
        <a:off x="205156" y="2087761"/>
        <a:ext cx="1963720" cy="2487360"/>
      </dsp:txXfrm>
    </dsp:sp>
    <dsp:sp modelId="{46293599-CD18-456C-B523-2643D9780D34}">
      <dsp:nvSpPr>
        <dsp:cNvPr id="0" name=""/>
        <dsp:cNvSpPr/>
      </dsp:nvSpPr>
      <dsp:spPr>
        <a:xfrm>
          <a:off x="2442467" y="278368"/>
          <a:ext cx="2092418" cy="1531025"/>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6D7BD5-A1F2-482B-BE8E-F42EC77518A9}">
      <dsp:nvSpPr>
        <dsp:cNvPr id="0" name=""/>
        <dsp:cNvSpPr/>
      </dsp:nvSpPr>
      <dsp:spPr>
        <a:xfrm rot="10800000">
          <a:off x="2442467" y="2087761"/>
          <a:ext cx="2092418" cy="2551709"/>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da-DK" sz="1600" kern="1200" dirty="0" smtClean="0"/>
            <a:t>GSU/STP</a:t>
          </a:r>
          <a:endParaRPr lang="da-DK" sz="1600" kern="1200" dirty="0"/>
        </a:p>
        <a:p>
          <a:pPr marL="114300" lvl="1" indent="-114300" algn="l" defTabSz="533400">
            <a:lnSpc>
              <a:spcPct val="90000"/>
            </a:lnSpc>
            <a:spcBef>
              <a:spcPct val="0"/>
            </a:spcBef>
            <a:spcAft>
              <a:spcPct val="15000"/>
            </a:spcAft>
            <a:buChar char="••"/>
          </a:pPr>
          <a:r>
            <a:rPr lang="da-DK" sz="1200" kern="1200" dirty="0" smtClean="0"/>
            <a:t>HBU </a:t>
          </a:r>
          <a:r>
            <a:rPr lang="da-DK" sz="1200" kern="1200" dirty="0" smtClean="0">
              <a:sym typeface="Wingdings" panose="05000000000000000000" pitchFamily="2" charset="2"/>
            </a:rPr>
            <a:t> </a:t>
          </a:r>
          <a:r>
            <a:rPr lang="da-DK" sz="1200" kern="1200" dirty="0" smtClean="0"/>
            <a:t>SRS</a:t>
          </a:r>
          <a:endParaRPr lang="da-DK" sz="1200" kern="1200" dirty="0"/>
        </a:p>
        <a:p>
          <a:pPr marL="114300" lvl="1" indent="-114300" algn="l" defTabSz="533400">
            <a:lnSpc>
              <a:spcPct val="90000"/>
            </a:lnSpc>
            <a:spcBef>
              <a:spcPct val="0"/>
            </a:spcBef>
            <a:spcAft>
              <a:spcPct val="15000"/>
            </a:spcAft>
            <a:buChar char="••"/>
          </a:pPr>
          <a:r>
            <a:rPr lang="da-DK" sz="1200" kern="1200" dirty="0" smtClean="0"/>
            <a:t>17 uger.</a:t>
          </a:r>
          <a:endParaRPr lang="da-DK" sz="1200" kern="1200" dirty="0"/>
        </a:p>
        <a:p>
          <a:pPr marL="228600" lvl="2" indent="-114300" algn="l" defTabSz="533400">
            <a:lnSpc>
              <a:spcPct val="90000"/>
            </a:lnSpc>
            <a:spcBef>
              <a:spcPct val="0"/>
            </a:spcBef>
            <a:spcAft>
              <a:spcPct val="15000"/>
            </a:spcAft>
            <a:buChar char="••"/>
          </a:pPr>
          <a:r>
            <a:rPr lang="da-DK" sz="1200" kern="1200" dirty="0" smtClean="0"/>
            <a:t>Taktisk FØ</a:t>
          </a:r>
          <a:endParaRPr lang="da-DK" sz="1200" kern="1200" dirty="0"/>
        </a:p>
        <a:p>
          <a:pPr marL="228600" lvl="2" indent="-114300" algn="l" defTabSz="533400">
            <a:lnSpc>
              <a:spcPct val="90000"/>
            </a:lnSpc>
            <a:spcBef>
              <a:spcPct val="0"/>
            </a:spcBef>
            <a:spcAft>
              <a:spcPct val="15000"/>
            </a:spcAft>
            <a:buChar char="••"/>
          </a:pPr>
          <a:r>
            <a:rPr lang="da-DK" sz="1200" kern="1200" dirty="0" smtClean="0"/>
            <a:t>Instruktør</a:t>
          </a:r>
          <a:endParaRPr lang="da-DK" sz="1200" kern="1200" dirty="0"/>
        </a:p>
        <a:p>
          <a:pPr marL="228600" lvl="2" indent="-114300" algn="l" defTabSz="533400">
            <a:lnSpc>
              <a:spcPct val="90000"/>
            </a:lnSpc>
            <a:spcBef>
              <a:spcPct val="0"/>
            </a:spcBef>
            <a:spcAft>
              <a:spcPct val="15000"/>
            </a:spcAft>
            <a:buChar char="••"/>
          </a:pPr>
          <a:r>
            <a:rPr lang="da-DK" sz="1200" kern="1200" dirty="0" smtClean="0"/>
            <a:t>Ledelse</a:t>
          </a:r>
          <a:endParaRPr lang="da-DK" sz="1200" kern="1200" dirty="0"/>
        </a:p>
        <a:p>
          <a:pPr marL="228600" lvl="2" indent="-114300" algn="l" defTabSz="533400">
            <a:lnSpc>
              <a:spcPct val="90000"/>
            </a:lnSpc>
            <a:spcBef>
              <a:spcPct val="0"/>
            </a:spcBef>
            <a:spcAft>
              <a:spcPct val="15000"/>
            </a:spcAft>
            <a:buChar char="••"/>
          </a:pPr>
          <a:r>
            <a:rPr lang="da-DK" sz="1200" kern="1200" dirty="0" smtClean="0"/>
            <a:t>SKYLE-I</a:t>
          </a:r>
          <a:endParaRPr lang="da-DK" sz="1200" kern="1200" dirty="0"/>
        </a:p>
        <a:p>
          <a:pPr marL="228600" lvl="2" indent="-114300" algn="l" defTabSz="533400">
            <a:lnSpc>
              <a:spcPct val="90000"/>
            </a:lnSpc>
            <a:spcBef>
              <a:spcPct val="0"/>
            </a:spcBef>
            <a:spcAft>
              <a:spcPct val="15000"/>
            </a:spcAft>
            <a:buChar char="••"/>
          </a:pPr>
          <a:r>
            <a:rPr lang="da-DK" sz="1200" kern="1200" smtClean="0"/>
            <a:t>MFT-I</a:t>
          </a:r>
          <a:endParaRPr lang="da-DK" sz="1200" kern="1200" dirty="0"/>
        </a:p>
        <a:p>
          <a:pPr marL="228600" lvl="2" indent="-114300" algn="l" defTabSz="533400">
            <a:lnSpc>
              <a:spcPct val="90000"/>
            </a:lnSpc>
            <a:spcBef>
              <a:spcPct val="0"/>
            </a:spcBef>
            <a:spcAft>
              <a:spcPct val="15000"/>
            </a:spcAft>
            <a:buChar char="••"/>
          </a:pPr>
          <a:r>
            <a:rPr lang="da-DK" sz="1200" kern="1200" dirty="0" smtClean="0"/>
            <a:t>VB i GRP</a:t>
          </a:r>
          <a:endParaRPr lang="da-DK" sz="1200" kern="1200" dirty="0"/>
        </a:p>
        <a:p>
          <a:pPr marL="114300" lvl="1" indent="-114300" algn="l" defTabSz="533400">
            <a:lnSpc>
              <a:spcPct val="90000"/>
            </a:lnSpc>
            <a:spcBef>
              <a:spcPct val="0"/>
            </a:spcBef>
            <a:spcAft>
              <a:spcPct val="15000"/>
            </a:spcAft>
            <a:buChar char="••"/>
          </a:pPr>
          <a:endParaRPr lang="da-DK" sz="1200" kern="1200" dirty="0"/>
        </a:p>
      </dsp:txBody>
      <dsp:txXfrm rot="10800000">
        <a:off x="2506816" y="2087761"/>
        <a:ext cx="1963720" cy="24873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2F5380-8935-4253-98B7-827781CCAAB4}">
      <dsp:nvSpPr>
        <dsp:cNvPr id="0" name=""/>
        <dsp:cNvSpPr/>
      </dsp:nvSpPr>
      <dsp:spPr>
        <a:xfrm>
          <a:off x="0" y="0"/>
          <a:ext cx="8189798" cy="216522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663AB-3284-4718-A01C-E5540C9C185B}">
      <dsp:nvSpPr>
        <dsp:cNvPr id="0" name=""/>
        <dsp:cNvSpPr/>
      </dsp:nvSpPr>
      <dsp:spPr>
        <a:xfrm>
          <a:off x="247949" y="288696"/>
          <a:ext cx="1789278" cy="1587830"/>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6F5A3-B6ED-4CD1-9C32-CD5213C6CF52}">
      <dsp:nvSpPr>
        <dsp:cNvPr id="0" name=""/>
        <dsp:cNvSpPr/>
      </dsp:nvSpPr>
      <dsp:spPr>
        <a:xfrm rot="10800000">
          <a:off x="24794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GRP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GRP</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GSU/ALM</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GSU/STP</a:t>
          </a:r>
          <a:endParaRPr lang="da-DK" sz="1100" u="none" kern="1200" dirty="0"/>
        </a:p>
        <a:p>
          <a:pPr marL="114300" lvl="2" indent="-57150" algn="l" defTabSz="488950">
            <a:lnSpc>
              <a:spcPct val="90000"/>
            </a:lnSpc>
            <a:spcBef>
              <a:spcPct val="0"/>
            </a:spcBef>
            <a:spcAft>
              <a:spcPct val="15000"/>
            </a:spcAft>
            <a:buChar char="••"/>
          </a:pPr>
          <a:endParaRPr lang="da-DK" sz="1100" u="none" kern="1200" dirty="0"/>
        </a:p>
      </dsp:txBody>
      <dsp:txXfrm rot="10800000">
        <a:off x="302975" y="2165223"/>
        <a:ext cx="1679226" cy="2591357"/>
      </dsp:txXfrm>
    </dsp:sp>
    <dsp:sp modelId="{46293599-CD18-456C-B523-2643D9780D34}">
      <dsp:nvSpPr>
        <dsp:cNvPr id="0" name=""/>
        <dsp:cNvSpPr/>
      </dsp:nvSpPr>
      <dsp:spPr>
        <a:xfrm>
          <a:off x="2216156" y="288696"/>
          <a:ext cx="1789278" cy="1587830"/>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6D7BD5-A1F2-482B-BE8E-F42EC77518A9}">
      <dsp:nvSpPr>
        <dsp:cNvPr id="0" name=""/>
        <dsp:cNvSpPr/>
      </dsp:nvSpPr>
      <dsp:spPr>
        <a:xfrm rot="10800000">
          <a:off x="2216156"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Over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DEL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DEL</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OSU</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AM</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GTH</a:t>
          </a:r>
          <a:endParaRPr lang="da-DK" sz="1100" u="none" kern="1200" dirty="0"/>
        </a:p>
        <a:p>
          <a:pPr marL="171450" lvl="3" indent="-57150" algn="l" defTabSz="488950">
            <a:lnSpc>
              <a:spcPct val="90000"/>
            </a:lnSpc>
            <a:spcBef>
              <a:spcPct val="0"/>
            </a:spcBef>
            <a:spcAft>
              <a:spcPct val="15000"/>
            </a:spcAft>
            <a:buChar char="••"/>
          </a:pP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2271182" y="2165223"/>
        <a:ext cx="1679226" cy="2591357"/>
      </dsp:txXfrm>
    </dsp:sp>
    <dsp:sp modelId="{82F78160-1442-452D-8541-31D68F328FFD}">
      <dsp:nvSpPr>
        <dsp:cNvPr id="0" name=""/>
        <dsp:cNvSpPr/>
      </dsp:nvSpPr>
      <dsp:spPr>
        <a:xfrm>
          <a:off x="4184362" y="288696"/>
          <a:ext cx="1789278" cy="1587830"/>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63C2DC-84AB-4BE7-9FA4-CD6B36392FCB}">
      <dsp:nvSpPr>
        <dsp:cNvPr id="0" name=""/>
        <dsp:cNvSpPr/>
      </dsp:nvSpPr>
      <dsp:spPr>
        <a:xfrm rot="10800000">
          <a:off x="4184362"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622300">
            <a:lnSpc>
              <a:spcPct val="90000"/>
            </a:lnSpc>
            <a:spcBef>
              <a:spcPct val="0"/>
            </a:spcBef>
            <a:spcAft>
              <a:spcPct val="35000"/>
            </a:spcAft>
          </a:pPr>
          <a:r>
            <a:rPr lang="da-DK" sz="1400" b="1" kern="1200" dirty="0" smtClean="0"/>
            <a:t>Seniorsergent</a:t>
          </a:r>
          <a:endParaRPr lang="da-DK" sz="1400"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KMP </a:t>
          </a:r>
          <a:r>
            <a:rPr lang="da-DK" sz="1100" u="none" kern="1200" dirty="0" smtClean="0">
              <a:sym typeface="Wingdings" panose="05000000000000000000" pitchFamily="2" charset="2"/>
            </a:rPr>
            <a:t>Krise/krig</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Ledelsesgrundlag o rammen af KMP</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CT UDD</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Specialisering</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HIK</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IO</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4239388" y="2165223"/>
        <a:ext cx="1679226" cy="2591357"/>
      </dsp:txXfrm>
    </dsp:sp>
    <dsp:sp modelId="{98E929B9-8BAA-4422-90E7-ABE3057DD78E}">
      <dsp:nvSpPr>
        <dsp:cNvPr id="0" name=""/>
        <dsp:cNvSpPr/>
      </dsp:nvSpPr>
      <dsp:spPr>
        <a:xfrm>
          <a:off x="6152569" y="288696"/>
          <a:ext cx="1789278" cy="1587830"/>
        </a:xfrm>
        <a:prstGeom prst="roundRect">
          <a:avLst>
            <a:gd name="adj" fmla="val 10000"/>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C21E64-FADE-4ECC-8520-A2129043AC4B}">
      <dsp:nvSpPr>
        <dsp:cNvPr id="0" name=""/>
        <dsp:cNvSpPr/>
      </dsp:nvSpPr>
      <dsp:spPr>
        <a:xfrm rot="10800000">
          <a:off x="615256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l" defTabSz="533400">
            <a:lnSpc>
              <a:spcPct val="90000"/>
            </a:lnSpc>
            <a:spcBef>
              <a:spcPct val="0"/>
            </a:spcBef>
            <a:spcAft>
              <a:spcPct val="35000"/>
            </a:spcAft>
          </a:pPr>
          <a:r>
            <a:rPr lang="da-DK" sz="1200" b="1" kern="1200" dirty="0" smtClean="0"/>
            <a:t>Chef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kern="1200" dirty="0"/>
        </a:p>
        <a:p>
          <a:pPr marL="57150" lvl="1" indent="-57150" algn="l" defTabSz="488950">
            <a:lnSpc>
              <a:spcPct val="90000"/>
            </a:lnSpc>
            <a:spcBef>
              <a:spcPct val="0"/>
            </a:spcBef>
            <a:spcAft>
              <a:spcPct val="15000"/>
            </a:spcAft>
            <a:buChar char="••"/>
          </a:pPr>
          <a:r>
            <a:rPr lang="da-DK" sz="1100" kern="1200" dirty="0" smtClean="0"/>
            <a:t>AFD </a:t>
          </a:r>
          <a:r>
            <a:rPr lang="da-DK" sz="1100" kern="1200" dirty="0" smtClean="0">
              <a:sym typeface="Wingdings" panose="05000000000000000000" pitchFamily="2" charset="2"/>
            </a:rPr>
            <a:t> Krise/krig</a:t>
          </a:r>
          <a:endParaRPr lang="da-DK" sz="1100" kern="1200" dirty="0" smtClean="0"/>
        </a:p>
        <a:p>
          <a:pPr marL="57150" lvl="1" indent="-57150" algn="l" defTabSz="488950">
            <a:lnSpc>
              <a:spcPct val="90000"/>
            </a:lnSpc>
            <a:spcBef>
              <a:spcPct val="0"/>
            </a:spcBef>
            <a:spcAft>
              <a:spcPct val="15000"/>
            </a:spcAft>
            <a:buChar char="••"/>
          </a:pPr>
          <a:r>
            <a:rPr lang="da-DK" sz="1100" u="sng" kern="1200" dirty="0" smtClean="0"/>
            <a:t>Ledelse</a:t>
          </a:r>
        </a:p>
        <a:p>
          <a:pPr marL="57150" lvl="1" indent="-57150" algn="l" defTabSz="488950">
            <a:lnSpc>
              <a:spcPct val="90000"/>
            </a:lnSpc>
            <a:spcBef>
              <a:spcPct val="0"/>
            </a:spcBef>
            <a:spcAft>
              <a:spcPct val="15000"/>
            </a:spcAft>
            <a:buChar char="••"/>
          </a:pPr>
          <a:r>
            <a:rPr lang="da-DK" sz="1100" kern="1200" dirty="0" smtClean="0"/>
            <a:t>Ledelsesgrundlag i rammen af AFD</a:t>
          </a:r>
        </a:p>
        <a:p>
          <a:pPr marL="57150" lvl="1" indent="-57150" algn="l" defTabSz="488950">
            <a:lnSpc>
              <a:spcPct val="90000"/>
            </a:lnSpc>
            <a:spcBef>
              <a:spcPct val="0"/>
            </a:spcBef>
            <a:spcAft>
              <a:spcPct val="15000"/>
            </a:spcAft>
            <a:buChar char="••"/>
          </a:pPr>
          <a:r>
            <a:rPr lang="da-DK" sz="1100" kern="1200" dirty="0" smtClean="0"/>
            <a:t>CT UDD</a:t>
          </a:r>
        </a:p>
        <a:p>
          <a:pPr marL="57150" lvl="1" indent="-57150" algn="l" defTabSz="488950">
            <a:lnSpc>
              <a:spcPct val="90000"/>
            </a:lnSpc>
            <a:spcBef>
              <a:spcPct val="0"/>
            </a:spcBef>
            <a:spcAft>
              <a:spcPct val="15000"/>
            </a:spcAft>
            <a:buChar char="••"/>
          </a:pPr>
          <a:r>
            <a:rPr lang="da-DK" sz="1100" u="sng" kern="1200" dirty="0" smtClean="0"/>
            <a:t>Uddannelse</a:t>
          </a:r>
        </a:p>
        <a:p>
          <a:pPr marL="57150" lvl="1" indent="-57150" algn="l" defTabSz="488950">
            <a:lnSpc>
              <a:spcPct val="90000"/>
            </a:lnSpc>
            <a:spcBef>
              <a:spcPct val="0"/>
            </a:spcBef>
            <a:spcAft>
              <a:spcPct val="15000"/>
            </a:spcAft>
            <a:buChar char="••"/>
          </a:pPr>
          <a:r>
            <a:rPr lang="da-DK" sz="1100" u="none" kern="1200" dirty="0" smtClean="0"/>
            <a:t>Yderligere </a:t>
          </a:r>
          <a:r>
            <a:rPr lang="da-DK" sz="1100" u="none" kern="1200" dirty="0" err="1" smtClean="0"/>
            <a:t>spec</a:t>
          </a:r>
          <a:r>
            <a:rPr lang="da-DK" sz="1100" u="none" kern="1200" dirty="0" smtClean="0"/>
            <a:t>.</a:t>
          </a:r>
        </a:p>
        <a:p>
          <a:pPr marL="57150" lvl="1" indent="-57150" algn="l" defTabSz="488950">
            <a:lnSpc>
              <a:spcPct val="90000"/>
            </a:lnSpc>
            <a:spcBef>
              <a:spcPct val="0"/>
            </a:spcBef>
            <a:spcAft>
              <a:spcPct val="15000"/>
            </a:spcAft>
            <a:buChar char="••"/>
          </a:pPr>
          <a:r>
            <a:rPr lang="da-DK" sz="1100" u="none" kern="1200" dirty="0" smtClean="0"/>
            <a:t>MAU</a:t>
          </a:r>
        </a:p>
        <a:p>
          <a:pPr marL="57150" lvl="1" indent="-57150" algn="l" defTabSz="488950">
            <a:lnSpc>
              <a:spcPct val="90000"/>
            </a:lnSpc>
            <a:spcBef>
              <a:spcPct val="0"/>
            </a:spcBef>
            <a:spcAft>
              <a:spcPct val="15000"/>
            </a:spcAft>
            <a:buChar char="••"/>
          </a:pPr>
          <a:r>
            <a:rPr lang="da-DK" sz="1100" u="none" kern="1200" dirty="0" smtClean="0"/>
            <a:t>NIV-6 UDD</a:t>
          </a:r>
        </a:p>
        <a:p>
          <a:pPr marL="57150" lvl="1" indent="-57150" algn="l" defTabSz="488950">
            <a:lnSpc>
              <a:spcPct val="90000"/>
            </a:lnSpc>
            <a:spcBef>
              <a:spcPct val="0"/>
            </a:spcBef>
            <a:spcAft>
              <a:spcPct val="15000"/>
            </a:spcAft>
            <a:buChar char="••"/>
          </a:pPr>
          <a:r>
            <a:rPr lang="da-DK" sz="1100" u="none" kern="1200" dirty="0" smtClean="0"/>
            <a:t>NATO KUR</a:t>
          </a:r>
          <a:endParaRPr lang="da-DK" sz="1100" kern="1200" dirty="0"/>
        </a:p>
      </dsp:txBody>
      <dsp:txXfrm rot="10800000">
        <a:off x="6207595" y="2165223"/>
        <a:ext cx="1679226" cy="25913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2F5380-8935-4253-98B7-827781CCAAB4}">
      <dsp:nvSpPr>
        <dsp:cNvPr id="0" name=""/>
        <dsp:cNvSpPr/>
      </dsp:nvSpPr>
      <dsp:spPr>
        <a:xfrm>
          <a:off x="0" y="0"/>
          <a:ext cx="2573517" cy="2087761"/>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663AB-3284-4718-A01C-E5540C9C185B}">
      <dsp:nvSpPr>
        <dsp:cNvPr id="0" name=""/>
        <dsp:cNvSpPr/>
      </dsp:nvSpPr>
      <dsp:spPr>
        <a:xfrm>
          <a:off x="77205" y="278368"/>
          <a:ext cx="2419105" cy="1531025"/>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6F5A3-B6ED-4CD1-9C32-CD5213C6CF52}">
      <dsp:nvSpPr>
        <dsp:cNvPr id="0" name=""/>
        <dsp:cNvSpPr/>
      </dsp:nvSpPr>
      <dsp:spPr>
        <a:xfrm rot="10800000">
          <a:off x="77205" y="2087761"/>
          <a:ext cx="2419105" cy="2551709"/>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da-DK" sz="1600" kern="1200" dirty="0" smtClean="0"/>
            <a:t>OSU</a:t>
          </a:r>
          <a:endParaRPr lang="da-DK" sz="1600" kern="1200" dirty="0"/>
        </a:p>
        <a:p>
          <a:pPr marL="114300" lvl="1" indent="-114300" algn="l" defTabSz="533400">
            <a:lnSpc>
              <a:spcPct val="90000"/>
            </a:lnSpc>
            <a:spcBef>
              <a:spcPct val="0"/>
            </a:spcBef>
            <a:spcAft>
              <a:spcPct val="15000"/>
            </a:spcAft>
            <a:buChar char="••"/>
          </a:pPr>
          <a:r>
            <a:rPr lang="da-DK" sz="1200" kern="1200" dirty="0" smtClean="0"/>
            <a:t>NK/DEL, SF mf.</a:t>
          </a:r>
          <a:endParaRPr lang="da-DK" sz="1200" kern="1200" dirty="0"/>
        </a:p>
        <a:p>
          <a:pPr marL="114300" lvl="1" indent="-114300" algn="l" defTabSz="533400">
            <a:lnSpc>
              <a:spcPct val="90000"/>
            </a:lnSpc>
            <a:spcBef>
              <a:spcPct val="0"/>
            </a:spcBef>
            <a:spcAft>
              <a:spcPct val="15000"/>
            </a:spcAft>
            <a:buChar char="••"/>
          </a:pPr>
          <a:r>
            <a:rPr lang="da-DK" sz="1200" kern="1200" dirty="0" smtClean="0"/>
            <a:t>12 uger.</a:t>
          </a:r>
          <a:endParaRPr lang="da-DK" sz="1200" kern="1200" dirty="0"/>
        </a:p>
        <a:p>
          <a:pPr marL="228600" lvl="2" indent="-114300" algn="l" defTabSz="533400">
            <a:lnSpc>
              <a:spcPct val="90000"/>
            </a:lnSpc>
            <a:spcBef>
              <a:spcPct val="0"/>
            </a:spcBef>
            <a:spcAft>
              <a:spcPct val="15000"/>
            </a:spcAft>
            <a:buChar char="••"/>
          </a:pPr>
          <a:r>
            <a:rPr lang="da-DK" sz="1200" kern="1200" dirty="0" smtClean="0"/>
            <a:t>TAKTIK</a:t>
          </a:r>
          <a:endParaRPr lang="da-DK" sz="1200" kern="1200" dirty="0"/>
        </a:p>
        <a:p>
          <a:pPr marL="228600" lvl="2" indent="-114300" algn="l" defTabSz="533400">
            <a:lnSpc>
              <a:spcPct val="90000"/>
            </a:lnSpc>
            <a:spcBef>
              <a:spcPct val="0"/>
            </a:spcBef>
            <a:spcAft>
              <a:spcPct val="15000"/>
            </a:spcAft>
            <a:buChar char="••"/>
          </a:pPr>
          <a:r>
            <a:rPr lang="da-DK" sz="1200" kern="1200" dirty="0" smtClean="0"/>
            <a:t>FAGLÆ</a:t>
          </a:r>
          <a:endParaRPr lang="da-DK" sz="1200" kern="1200" dirty="0"/>
        </a:p>
        <a:p>
          <a:pPr marL="228600" lvl="2" indent="-114300" algn="l" defTabSz="533400">
            <a:lnSpc>
              <a:spcPct val="90000"/>
            </a:lnSpc>
            <a:spcBef>
              <a:spcPct val="0"/>
            </a:spcBef>
            <a:spcAft>
              <a:spcPct val="15000"/>
            </a:spcAft>
            <a:buChar char="••"/>
          </a:pPr>
          <a:r>
            <a:rPr lang="da-DK" sz="1200" kern="1200" dirty="0" smtClean="0"/>
            <a:t>SKYLE-II</a:t>
          </a:r>
          <a:endParaRPr lang="da-DK" sz="1200" kern="1200" dirty="0"/>
        </a:p>
        <a:p>
          <a:pPr marL="228600" lvl="2" indent="-114300" algn="l" defTabSz="533400">
            <a:lnSpc>
              <a:spcPct val="90000"/>
            </a:lnSpc>
            <a:spcBef>
              <a:spcPct val="0"/>
            </a:spcBef>
            <a:spcAft>
              <a:spcPct val="15000"/>
            </a:spcAft>
            <a:buChar char="••"/>
          </a:pPr>
          <a:r>
            <a:rPr lang="da-DK" sz="1200" kern="1200" dirty="0" smtClean="0"/>
            <a:t>CBRN</a:t>
          </a:r>
          <a:endParaRPr lang="da-DK" sz="1200" kern="1200" dirty="0"/>
        </a:p>
        <a:p>
          <a:pPr marL="228600" lvl="2" indent="-114300" algn="l" defTabSz="533400">
            <a:lnSpc>
              <a:spcPct val="90000"/>
            </a:lnSpc>
            <a:spcBef>
              <a:spcPct val="0"/>
            </a:spcBef>
            <a:spcAft>
              <a:spcPct val="15000"/>
            </a:spcAft>
            <a:buChar char="••"/>
          </a:pPr>
          <a:r>
            <a:rPr lang="da-DK" sz="1200" kern="1200" dirty="0" smtClean="0"/>
            <a:t>SPRTJ</a:t>
          </a:r>
          <a:endParaRPr lang="da-DK" sz="1200" kern="1200" dirty="0"/>
        </a:p>
        <a:p>
          <a:pPr marL="228600" lvl="2" indent="-114300" algn="l" defTabSz="533400">
            <a:lnSpc>
              <a:spcPct val="90000"/>
            </a:lnSpc>
            <a:spcBef>
              <a:spcPct val="0"/>
            </a:spcBef>
            <a:spcAft>
              <a:spcPct val="15000"/>
            </a:spcAft>
            <a:buChar char="••"/>
          </a:pPr>
          <a:r>
            <a:rPr lang="da-DK" sz="1200" kern="1200" dirty="0" smtClean="0"/>
            <a:t>LOG</a:t>
          </a:r>
          <a:endParaRPr lang="da-DK" sz="1200" kern="1200" dirty="0"/>
        </a:p>
        <a:p>
          <a:pPr marL="228600" lvl="2" indent="-114300" algn="l" defTabSz="533400">
            <a:lnSpc>
              <a:spcPct val="90000"/>
            </a:lnSpc>
            <a:spcBef>
              <a:spcPct val="0"/>
            </a:spcBef>
            <a:spcAft>
              <a:spcPct val="15000"/>
            </a:spcAft>
            <a:buChar char="••"/>
          </a:pPr>
          <a:r>
            <a:rPr lang="da-DK" sz="1200" kern="1200" dirty="0" err="1" smtClean="0"/>
            <a:t>Krypto</a:t>
          </a:r>
          <a:endParaRPr lang="da-DK" sz="1200" kern="1200" dirty="0"/>
        </a:p>
        <a:p>
          <a:pPr marL="114300" lvl="1" indent="-114300" algn="l" defTabSz="533400">
            <a:lnSpc>
              <a:spcPct val="90000"/>
            </a:lnSpc>
            <a:spcBef>
              <a:spcPct val="0"/>
            </a:spcBef>
            <a:spcAft>
              <a:spcPct val="15000"/>
            </a:spcAft>
            <a:buChar char="••"/>
          </a:pPr>
          <a:endParaRPr lang="da-DK" sz="1200" kern="1200" dirty="0"/>
        </a:p>
      </dsp:txBody>
      <dsp:txXfrm rot="10800000">
        <a:off x="151601" y="2087761"/>
        <a:ext cx="2270313" cy="247731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2F5380-8935-4253-98B7-827781CCAAB4}">
      <dsp:nvSpPr>
        <dsp:cNvPr id="0" name=""/>
        <dsp:cNvSpPr/>
      </dsp:nvSpPr>
      <dsp:spPr>
        <a:xfrm>
          <a:off x="0" y="0"/>
          <a:ext cx="8189798" cy="216522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663AB-3284-4718-A01C-E5540C9C185B}">
      <dsp:nvSpPr>
        <dsp:cNvPr id="0" name=""/>
        <dsp:cNvSpPr/>
      </dsp:nvSpPr>
      <dsp:spPr>
        <a:xfrm>
          <a:off x="247949" y="288696"/>
          <a:ext cx="1789278" cy="1587830"/>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6F5A3-B6ED-4CD1-9C32-CD5213C6CF52}">
      <dsp:nvSpPr>
        <dsp:cNvPr id="0" name=""/>
        <dsp:cNvSpPr/>
      </dsp:nvSpPr>
      <dsp:spPr>
        <a:xfrm rot="10800000">
          <a:off x="24794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GRP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GRP</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GSU/ALM</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GSU/STP</a:t>
          </a:r>
          <a:endParaRPr lang="da-DK" sz="1100" u="none" kern="1200" dirty="0"/>
        </a:p>
        <a:p>
          <a:pPr marL="114300" lvl="2" indent="-57150" algn="l" defTabSz="488950">
            <a:lnSpc>
              <a:spcPct val="90000"/>
            </a:lnSpc>
            <a:spcBef>
              <a:spcPct val="0"/>
            </a:spcBef>
            <a:spcAft>
              <a:spcPct val="15000"/>
            </a:spcAft>
            <a:buChar char="••"/>
          </a:pPr>
          <a:endParaRPr lang="da-DK" sz="1100" u="none" kern="1200" dirty="0"/>
        </a:p>
      </dsp:txBody>
      <dsp:txXfrm rot="10800000">
        <a:off x="302975" y="2165223"/>
        <a:ext cx="1679226" cy="2591357"/>
      </dsp:txXfrm>
    </dsp:sp>
    <dsp:sp modelId="{46293599-CD18-456C-B523-2643D9780D34}">
      <dsp:nvSpPr>
        <dsp:cNvPr id="0" name=""/>
        <dsp:cNvSpPr/>
      </dsp:nvSpPr>
      <dsp:spPr>
        <a:xfrm>
          <a:off x="2216156" y="288696"/>
          <a:ext cx="1789278" cy="1587830"/>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6D7BD5-A1F2-482B-BE8E-F42EC77518A9}">
      <dsp:nvSpPr>
        <dsp:cNvPr id="0" name=""/>
        <dsp:cNvSpPr/>
      </dsp:nvSpPr>
      <dsp:spPr>
        <a:xfrm rot="10800000">
          <a:off x="2216156"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533400">
            <a:lnSpc>
              <a:spcPct val="90000"/>
            </a:lnSpc>
            <a:spcBef>
              <a:spcPct val="0"/>
            </a:spcBef>
            <a:spcAft>
              <a:spcPct val="35000"/>
            </a:spcAft>
          </a:pPr>
          <a:r>
            <a:rPr lang="da-DK" sz="1200" b="1" kern="1200" dirty="0" smtClean="0"/>
            <a:t>Over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kern="1200" dirty="0" smtClean="0"/>
            <a:t>DEL </a:t>
          </a:r>
          <a:r>
            <a:rPr lang="da-DK" sz="1100" kern="1200" dirty="0" smtClean="0">
              <a:sym typeface="Wingdings" panose="05000000000000000000" pitchFamily="2" charset="2"/>
            </a:rPr>
            <a:t>Krise/krig</a:t>
          </a:r>
          <a:endParaRPr lang="da-DK" sz="1100"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kern="1200" dirty="0" smtClean="0"/>
            <a:t>Ledelsesgrundlag i rammen af DEL</a:t>
          </a:r>
          <a:endParaRPr lang="da-DK" sz="1100"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OSU</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AM</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GTH</a:t>
          </a:r>
          <a:endParaRPr lang="da-DK" sz="1100" u="none" kern="1200" dirty="0"/>
        </a:p>
        <a:p>
          <a:pPr marL="171450" lvl="3" indent="-57150" algn="l" defTabSz="488950">
            <a:lnSpc>
              <a:spcPct val="90000"/>
            </a:lnSpc>
            <a:spcBef>
              <a:spcPct val="0"/>
            </a:spcBef>
            <a:spcAft>
              <a:spcPct val="15000"/>
            </a:spcAft>
            <a:buChar char="••"/>
          </a:pP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2271182" y="2165223"/>
        <a:ext cx="1679226" cy="2591357"/>
      </dsp:txXfrm>
    </dsp:sp>
    <dsp:sp modelId="{82F78160-1442-452D-8541-31D68F328FFD}">
      <dsp:nvSpPr>
        <dsp:cNvPr id="0" name=""/>
        <dsp:cNvSpPr/>
      </dsp:nvSpPr>
      <dsp:spPr>
        <a:xfrm>
          <a:off x="4184362" y="288696"/>
          <a:ext cx="1789278" cy="1587830"/>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63C2DC-84AB-4BE7-9FA4-CD6B36392FCB}">
      <dsp:nvSpPr>
        <dsp:cNvPr id="0" name=""/>
        <dsp:cNvSpPr/>
      </dsp:nvSpPr>
      <dsp:spPr>
        <a:xfrm rot="10800000">
          <a:off x="4184362"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622300">
            <a:lnSpc>
              <a:spcPct val="90000"/>
            </a:lnSpc>
            <a:spcBef>
              <a:spcPct val="0"/>
            </a:spcBef>
            <a:spcAft>
              <a:spcPct val="35000"/>
            </a:spcAft>
          </a:pPr>
          <a:r>
            <a:rPr lang="da-DK" sz="1400" b="1" kern="1200" dirty="0" smtClean="0"/>
            <a:t>Seniorsergent</a:t>
          </a:r>
          <a:endParaRPr lang="da-DK" sz="1400"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KMP </a:t>
          </a:r>
          <a:r>
            <a:rPr lang="da-DK" sz="1100" u="none" kern="1200" dirty="0" smtClean="0">
              <a:sym typeface="Wingdings" panose="05000000000000000000" pitchFamily="2" charset="2"/>
            </a:rPr>
            <a:t>Krise/krig</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Led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Ledelsesgrundlag o rammen af KMP</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CT UDD</a:t>
          </a:r>
          <a:endParaRPr lang="da-DK" sz="1100" u="none" kern="1200" dirty="0"/>
        </a:p>
        <a:p>
          <a:pPr marL="57150" lvl="1" indent="-57150" algn="l" defTabSz="488950">
            <a:lnSpc>
              <a:spcPct val="90000"/>
            </a:lnSpc>
            <a:spcBef>
              <a:spcPct val="0"/>
            </a:spcBef>
            <a:spcAft>
              <a:spcPct val="15000"/>
            </a:spcAft>
            <a:buChar char="••"/>
          </a:pPr>
          <a:r>
            <a:rPr lang="da-DK" sz="1100" u="sng" kern="1200" dirty="0" smtClean="0"/>
            <a:t>Uddannelse</a:t>
          </a:r>
          <a:endParaRPr lang="da-DK" sz="1100" u="sng" kern="1200" dirty="0"/>
        </a:p>
        <a:p>
          <a:pPr marL="114300" lvl="2" indent="-57150" algn="l" defTabSz="488950">
            <a:lnSpc>
              <a:spcPct val="90000"/>
            </a:lnSpc>
            <a:spcBef>
              <a:spcPct val="0"/>
            </a:spcBef>
            <a:spcAft>
              <a:spcPct val="15000"/>
            </a:spcAft>
            <a:buChar char="••"/>
          </a:pPr>
          <a:r>
            <a:rPr lang="da-DK" sz="1100" u="none" kern="1200" dirty="0" smtClean="0"/>
            <a:t>Specialisering</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MAU</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HIK</a:t>
          </a:r>
          <a:endParaRPr lang="da-DK" sz="1100" u="none" kern="1200" dirty="0"/>
        </a:p>
        <a:p>
          <a:pPr marL="171450" lvl="3" indent="-57150" algn="l" defTabSz="488950">
            <a:lnSpc>
              <a:spcPct val="90000"/>
            </a:lnSpc>
            <a:spcBef>
              <a:spcPct val="0"/>
            </a:spcBef>
            <a:spcAft>
              <a:spcPct val="15000"/>
            </a:spcAft>
            <a:buChar char="••"/>
          </a:pPr>
          <a:r>
            <a:rPr lang="da-DK" sz="1100" u="none" kern="1200" dirty="0" smtClean="0"/>
            <a:t>LIO</a:t>
          </a:r>
          <a:endParaRPr lang="da-DK" sz="1100" u="none" kern="1200" dirty="0"/>
        </a:p>
        <a:p>
          <a:pPr marL="114300" lvl="2" indent="-57150" algn="l" defTabSz="488950">
            <a:lnSpc>
              <a:spcPct val="90000"/>
            </a:lnSpc>
            <a:spcBef>
              <a:spcPct val="0"/>
            </a:spcBef>
            <a:spcAft>
              <a:spcPct val="15000"/>
            </a:spcAft>
            <a:buChar char="••"/>
          </a:pPr>
          <a:r>
            <a:rPr lang="da-DK" sz="1100" u="none" kern="1200" dirty="0" smtClean="0"/>
            <a:t>NATO KUR</a:t>
          </a:r>
          <a:endParaRPr lang="da-DK" sz="1100" u="none" kern="1200" dirty="0"/>
        </a:p>
      </dsp:txBody>
      <dsp:txXfrm rot="10800000">
        <a:off x="4239388" y="2165223"/>
        <a:ext cx="1679226" cy="2591357"/>
      </dsp:txXfrm>
    </dsp:sp>
    <dsp:sp modelId="{98E929B9-8BAA-4422-90E7-ABE3057DD78E}">
      <dsp:nvSpPr>
        <dsp:cNvPr id="0" name=""/>
        <dsp:cNvSpPr/>
      </dsp:nvSpPr>
      <dsp:spPr>
        <a:xfrm>
          <a:off x="6152569" y="288696"/>
          <a:ext cx="1789278" cy="1587830"/>
        </a:xfrm>
        <a:prstGeom prst="roundRect">
          <a:avLst>
            <a:gd name="adj" fmla="val 10000"/>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C21E64-FADE-4ECC-8520-A2129043AC4B}">
      <dsp:nvSpPr>
        <dsp:cNvPr id="0" name=""/>
        <dsp:cNvSpPr/>
      </dsp:nvSpPr>
      <dsp:spPr>
        <a:xfrm rot="10800000">
          <a:off x="6152569" y="2165223"/>
          <a:ext cx="1789278" cy="264638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l" defTabSz="533400">
            <a:lnSpc>
              <a:spcPct val="90000"/>
            </a:lnSpc>
            <a:spcBef>
              <a:spcPct val="0"/>
            </a:spcBef>
            <a:spcAft>
              <a:spcPct val="35000"/>
            </a:spcAft>
          </a:pPr>
          <a:r>
            <a:rPr lang="da-DK" sz="1200" b="1" kern="1200" dirty="0" smtClean="0"/>
            <a:t>Chefsergent</a:t>
          </a:r>
          <a:endParaRPr lang="da-DK" sz="1200" b="1" kern="1200" dirty="0"/>
        </a:p>
        <a:p>
          <a:pPr marL="57150" lvl="1" indent="-57150" algn="l" defTabSz="488950">
            <a:lnSpc>
              <a:spcPct val="90000"/>
            </a:lnSpc>
            <a:spcBef>
              <a:spcPct val="0"/>
            </a:spcBef>
            <a:spcAft>
              <a:spcPct val="15000"/>
            </a:spcAft>
            <a:buChar char="••"/>
          </a:pPr>
          <a:r>
            <a:rPr lang="da-DK" sz="1100" u="sng" kern="1200" dirty="0" smtClean="0"/>
            <a:t>Føring</a:t>
          </a:r>
          <a:endParaRPr lang="da-DK" sz="1100" kern="1200" dirty="0"/>
        </a:p>
        <a:p>
          <a:pPr marL="57150" lvl="1" indent="-57150" algn="l" defTabSz="488950">
            <a:lnSpc>
              <a:spcPct val="90000"/>
            </a:lnSpc>
            <a:spcBef>
              <a:spcPct val="0"/>
            </a:spcBef>
            <a:spcAft>
              <a:spcPct val="15000"/>
            </a:spcAft>
            <a:buChar char="••"/>
          </a:pPr>
          <a:r>
            <a:rPr lang="da-DK" sz="1100" kern="1200" dirty="0" smtClean="0"/>
            <a:t>AFD </a:t>
          </a:r>
          <a:r>
            <a:rPr lang="da-DK" sz="1100" kern="1200" dirty="0" smtClean="0">
              <a:sym typeface="Wingdings" panose="05000000000000000000" pitchFamily="2" charset="2"/>
            </a:rPr>
            <a:t> Krise/krig</a:t>
          </a:r>
          <a:endParaRPr lang="da-DK" sz="1100" kern="1200" dirty="0" smtClean="0"/>
        </a:p>
        <a:p>
          <a:pPr marL="57150" lvl="1" indent="-57150" algn="l" defTabSz="488950">
            <a:lnSpc>
              <a:spcPct val="90000"/>
            </a:lnSpc>
            <a:spcBef>
              <a:spcPct val="0"/>
            </a:spcBef>
            <a:spcAft>
              <a:spcPct val="15000"/>
            </a:spcAft>
            <a:buChar char="••"/>
          </a:pPr>
          <a:r>
            <a:rPr lang="da-DK" sz="1100" u="sng" kern="1200" dirty="0" smtClean="0"/>
            <a:t>Ledelse</a:t>
          </a:r>
        </a:p>
        <a:p>
          <a:pPr marL="57150" lvl="1" indent="-57150" algn="l" defTabSz="488950">
            <a:lnSpc>
              <a:spcPct val="90000"/>
            </a:lnSpc>
            <a:spcBef>
              <a:spcPct val="0"/>
            </a:spcBef>
            <a:spcAft>
              <a:spcPct val="15000"/>
            </a:spcAft>
            <a:buChar char="••"/>
          </a:pPr>
          <a:r>
            <a:rPr lang="da-DK" sz="1100" kern="1200" dirty="0" smtClean="0"/>
            <a:t>Ledelsesgrundlag i rammen af AFD</a:t>
          </a:r>
        </a:p>
        <a:p>
          <a:pPr marL="57150" lvl="1" indent="-57150" algn="l" defTabSz="488950">
            <a:lnSpc>
              <a:spcPct val="90000"/>
            </a:lnSpc>
            <a:spcBef>
              <a:spcPct val="0"/>
            </a:spcBef>
            <a:spcAft>
              <a:spcPct val="15000"/>
            </a:spcAft>
            <a:buChar char="••"/>
          </a:pPr>
          <a:r>
            <a:rPr lang="da-DK" sz="1100" kern="1200" dirty="0" smtClean="0"/>
            <a:t>CT UDD</a:t>
          </a:r>
        </a:p>
        <a:p>
          <a:pPr marL="57150" lvl="1" indent="-57150" algn="l" defTabSz="488950">
            <a:lnSpc>
              <a:spcPct val="90000"/>
            </a:lnSpc>
            <a:spcBef>
              <a:spcPct val="0"/>
            </a:spcBef>
            <a:spcAft>
              <a:spcPct val="15000"/>
            </a:spcAft>
            <a:buChar char="••"/>
          </a:pPr>
          <a:r>
            <a:rPr lang="da-DK" sz="1100" u="sng" kern="1200" dirty="0" smtClean="0"/>
            <a:t>Uddannelse</a:t>
          </a:r>
        </a:p>
        <a:p>
          <a:pPr marL="57150" lvl="1" indent="-57150" algn="l" defTabSz="488950">
            <a:lnSpc>
              <a:spcPct val="90000"/>
            </a:lnSpc>
            <a:spcBef>
              <a:spcPct val="0"/>
            </a:spcBef>
            <a:spcAft>
              <a:spcPct val="15000"/>
            </a:spcAft>
            <a:buChar char="••"/>
          </a:pPr>
          <a:r>
            <a:rPr lang="da-DK" sz="1100" u="none" kern="1200" dirty="0" smtClean="0"/>
            <a:t>Yderligere </a:t>
          </a:r>
          <a:r>
            <a:rPr lang="da-DK" sz="1100" u="none" kern="1200" dirty="0" err="1" smtClean="0"/>
            <a:t>spec</a:t>
          </a:r>
          <a:r>
            <a:rPr lang="da-DK" sz="1100" u="none" kern="1200" dirty="0" smtClean="0"/>
            <a:t>.</a:t>
          </a:r>
        </a:p>
        <a:p>
          <a:pPr marL="57150" lvl="1" indent="-57150" algn="l" defTabSz="488950">
            <a:lnSpc>
              <a:spcPct val="90000"/>
            </a:lnSpc>
            <a:spcBef>
              <a:spcPct val="0"/>
            </a:spcBef>
            <a:spcAft>
              <a:spcPct val="15000"/>
            </a:spcAft>
            <a:buChar char="••"/>
          </a:pPr>
          <a:r>
            <a:rPr lang="da-DK" sz="1100" u="none" kern="1200" dirty="0" smtClean="0"/>
            <a:t>MAU</a:t>
          </a:r>
        </a:p>
        <a:p>
          <a:pPr marL="57150" lvl="1" indent="-57150" algn="l" defTabSz="488950">
            <a:lnSpc>
              <a:spcPct val="90000"/>
            </a:lnSpc>
            <a:spcBef>
              <a:spcPct val="0"/>
            </a:spcBef>
            <a:spcAft>
              <a:spcPct val="15000"/>
            </a:spcAft>
            <a:buChar char="••"/>
          </a:pPr>
          <a:r>
            <a:rPr lang="da-DK" sz="1100" u="none" kern="1200" dirty="0" smtClean="0"/>
            <a:t>NIV-6 UDD</a:t>
          </a:r>
        </a:p>
        <a:p>
          <a:pPr marL="57150" lvl="1" indent="-57150" algn="l" defTabSz="488950">
            <a:lnSpc>
              <a:spcPct val="90000"/>
            </a:lnSpc>
            <a:spcBef>
              <a:spcPct val="0"/>
            </a:spcBef>
            <a:spcAft>
              <a:spcPct val="15000"/>
            </a:spcAft>
            <a:buChar char="••"/>
          </a:pPr>
          <a:r>
            <a:rPr lang="da-DK" sz="1100" u="none" kern="1200" dirty="0" smtClean="0"/>
            <a:t>NATO KUR</a:t>
          </a:r>
          <a:endParaRPr lang="da-DK" sz="1100" kern="1200" dirty="0"/>
        </a:p>
      </dsp:txBody>
      <dsp:txXfrm rot="10800000">
        <a:off x="6207595" y="2165223"/>
        <a:ext cx="1679226" cy="25913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21853-56CB-40FF-A58D-FD84321377DF}">
      <dsp:nvSpPr>
        <dsp:cNvPr id="0" name=""/>
        <dsp:cNvSpPr/>
      </dsp:nvSpPr>
      <dsp:spPr>
        <a:xfrm>
          <a:off x="96189" y="0"/>
          <a:ext cx="6665290" cy="6058768"/>
        </a:xfrm>
        <a:prstGeom prst="triangl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B002DF-D543-4D38-A638-2AC174DD8C26}">
      <dsp:nvSpPr>
        <dsp:cNvPr id="0" name=""/>
        <dsp:cNvSpPr/>
      </dsp:nvSpPr>
      <dsp:spPr>
        <a:xfrm>
          <a:off x="39001" y="223927"/>
          <a:ext cx="2634072" cy="861481"/>
        </a:xfrm>
        <a:prstGeom prst="roundRect">
          <a:avLst/>
        </a:prstGeom>
        <a:noFill/>
        <a:ln w="12700" cap="flat" cmpd="sng" algn="ctr">
          <a:solidFill>
            <a:schemeClr val="tx1"/>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a-DK" sz="1000" b="1" kern="1200" dirty="0" smtClean="0">
              <a:latin typeface="Arial" panose="020B0604020202020204" pitchFamily="34" charset="0"/>
              <a:cs typeface="Arial" panose="020B0604020202020204" pitchFamily="34" charset="0"/>
            </a:rPr>
            <a:t>Master i Militære studier</a:t>
          </a:r>
        </a:p>
        <a:p>
          <a:pPr lvl="0" algn="ctr" defTabSz="444500">
            <a:lnSpc>
              <a:spcPct val="90000"/>
            </a:lnSpc>
            <a:spcBef>
              <a:spcPct val="0"/>
            </a:spcBef>
            <a:spcAft>
              <a:spcPct val="35000"/>
            </a:spcAft>
          </a:pPr>
          <a:r>
            <a:rPr lang="da-DK" sz="1000" b="1" kern="1200" dirty="0" smtClean="0">
              <a:latin typeface="Arial" panose="020B0604020202020204" pitchFamily="34" charset="0"/>
              <a:cs typeface="Arial" panose="020B0604020202020204" pitchFamily="34" charset="0"/>
            </a:rPr>
            <a:t>(niveau 7)</a:t>
          </a:r>
          <a:endParaRPr lang="da-DK" sz="1000" b="1" kern="1200" dirty="0">
            <a:latin typeface="Arial" panose="020B0604020202020204" pitchFamily="34" charset="0"/>
            <a:cs typeface="Arial" panose="020B0604020202020204" pitchFamily="34" charset="0"/>
          </a:endParaRPr>
        </a:p>
      </dsp:txBody>
      <dsp:txXfrm>
        <a:off x="81055" y="265981"/>
        <a:ext cx="2549964" cy="777373"/>
      </dsp:txXfrm>
    </dsp:sp>
    <dsp:sp modelId="{70C7999E-800F-4802-94FD-5539E0F7E66D}">
      <dsp:nvSpPr>
        <dsp:cNvPr id="0" name=""/>
        <dsp:cNvSpPr/>
      </dsp:nvSpPr>
      <dsp:spPr>
        <a:xfrm>
          <a:off x="59944" y="1571604"/>
          <a:ext cx="2666251" cy="861481"/>
        </a:xfrm>
        <a:prstGeom prst="roundRect">
          <a:avLst/>
        </a:prstGeom>
        <a:noFill/>
        <a:ln w="12700" cap="flat" cmpd="sng" algn="ctr">
          <a:solidFill>
            <a:schemeClr val="tx1"/>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a-DK" sz="1000" b="1" kern="1200" dirty="0" smtClean="0">
              <a:latin typeface="Arial" panose="020B0604020202020204" pitchFamily="34" charset="0"/>
              <a:cs typeface="Arial" panose="020B0604020202020204" pitchFamily="34" charset="0"/>
            </a:rPr>
            <a:t>Føringskursus</a:t>
          </a:r>
          <a:endParaRPr lang="da-DK" sz="1000" b="1" kern="1200" dirty="0">
            <a:latin typeface="Arial" panose="020B0604020202020204" pitchFamily="34" charset="0"/>
            <a:cs typeface="Arial" panose="020B0604020202020204" pitchFamily="34" charset="0"/>
          </a:endParaRPr>
        </a:p>
      </dsp:txBody>
      <dsp:txXfrm>
        <a:off x="101998" y="1613658"/>
        <a:ext cx="2582143" cy="777373"/>
      </dsp:txXfrm>
    </dsp:sp>
    <dsp:sp modelId="{9594E70D-3FF6-4E11-A1BD-18A861548B87}">
      <dsp:nvSpPr>
        <dsp:cNvPr id="0" name=""/>
        <dsp:cNvSpPr/>
      </dsp:nvSpPr>
      <dsp:spPr>
        <a:xfrm>
          <a:off x="68008" y="2865030"/>
          <a:ext cx="2634072" cy="861481"/>
        </a:xfrm>
        <a:prstGeom prst="roundRect">
          <a:avLst/>
        </a:prstGeom>
        <a:no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err="1" smtClean="0">
              <a:latin typeface="Arial" pitchFamily="34" charset="0"/>
              <a:cs typeface="Arial" pitchFamily="34" charset="0"/>
            </a:rPr>
            <a:t>Militær</a:t>
          </a:r>
          <a:r>
            <a:rPr lang="en-US" sz="1000" b="1" kern="1200" dirty="0" smtClean="0">
              <a:latin typeface="Arial" pitchFamily="34" charset="0"/>
              <a:cs typeface="Arial" pitchFamily="34" charset="0"/>
            </a:rPr>
            <a:t> </a:t>
          </a:r>
          <a:r>
            <a:rPr lang="en-US" sz="1000" b="1" kern="1200" dirty="0" err="1" smtClean="0">
              <a:latin typeface="Arial" pitchFamily="34" charset="0"/>
              <a:cs typeface="Arial" pitchFamily="34" charset="0"/>
            </a:rPr>
            <a:t>Akademiuddannelse</a:t>
          </a:r>
          <a:endParaRPr lang="en-US" sz="1000" b="1" kern="1200" dirty="0" smtClean="0">
            <a:latin typeface="Arial" pitchFamily="34" charset="0"/>
            <a:cs typeface="Arial" pitchFamily="34" charset="0"/>
          </a:endParaRPr>
        </a:p>
        <a:p>
          <a:pPr lvl="0" algn="ctr" defTabSz="444500">
            <a:lnSpc>
              <a:spcPct val="90000"/>
            </a:lnSpc>
            <a:spcBef>
              <a:spcPct val="0"/>
            </a:spcBef>
            <a:spcAft>
              <a:spcPct val="35000"/>
            </a:spcAft>
          </a:pPr>
          <a:r>
            <a:rPr lang="en-US" sz="1000" b="1" kern="1200" dirty="0" smtClean="0">
              <a:latin typeface="Arial" pitchFamily="34" charset="0"/>
              <a:cs typeface="Arial" pitchFamily="34" charset="0"/>
            </a:rPr>
            <a:t>(Niveau-5</a:t>
          </a:r>
          <a:r>
            <a:rPr lang="en-US" sz="1000" b="1" kern="1200" dirty="0" smtClean="0">
              <a:latin typeface="Arial" pitchFamily="34" charset="0"/>
              <a:cs typeface="Arial" pitchFamily="34" charset="0"/>
            </a:rPr>
            <a:t>)</a:t>
          </a:r>
          <a:endParaRPr lang="da-DK" sz="1000" b="1" kern="1200" dirty="0"/>
        </a:p>
      </dsp:txBody>
      <dsp:txXfrm>
        <a:off x="110062" y="2907084"/>
        <a:ext cx="2549964" cy="777373"/>
      </dsp:txXfrm>
    </dsp:sp>
    <dsp:sp modelId="{311327A0-6EEC-4FA5-9D5B-EE0D2497EFA0}">
      <dsp:nvSpPr>
        <dsp:cNvPr id="0" name=""/>
        <dsp:cNvSpPr/>
      </dsp:nvSpPr>
      <dsp:spPr>
        <a:xfrm>
          <a:off x="33269" y="4057354"/>
          <a:ext cx="2634072" cy="861481"/>
        </a:xfrm>
        <a:prstGeom prst="roundRect">
          <a:avLst/>
        </a:prstGeom>
        <a:solidFill>
          <a:schemeClr val="bg1"/>
        </a:solidFill>
        <a:ln w="12700" cap="flat" cmpd="sng" algn="ctr">
          <a:solidFill>
            <a:schemeClr val="tx1"/>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a-DK" sz="1000" b="1" kern="1200" dirty="0" smtClean="0">
              <a:latin typeface="Arial" panose="020B0604020202020204" pitchFamily="34" charset="0"/>
              <a:cs typeface="Arial" panose="020B0604020202020204" pitchFamily="34" charset="0"/>
            </a:rPr>
            <a:t>Oversergentuddannelse</a:t>
          </a:r>
          <a:endParaRPr lang="da-DK" sz="1000" b="1" kern="1200" dirty="0">
            <a:latin typeface="Arial" panose="020B0604020202020204" pitchFamily="34" charset="0"/>
            <a:cs typeface="Arial" panose="020B0604020202020204" pitchFamily="34" charset="0"/>
          </a:endParaRPr>
        </a:p>
      </dsp:txBody>
      <dsp:txXfrm>
        <a:off x="75323" y="4099408"/>
        <a:ext cx="2549964" cy="777373"/>
      </dsp:txXfrm>
    </dsp:sp>
    <dsp:sp modelId="{39B87CB2-0E75-471B-AE08-E750335A76EE}">
      <dsp:nvSpPr>
        <dsp:cNvPr id="0" name=""/>
        <dsp:cNvSpPr/>
      </dsp:nvSpPr>
      <dsp:spPr>
        <a:xfrm>
          <a:off x="90938" y="5197286"/>
          <a:ext cx="2573766" cy="861481"/>
        </a:xfrm>
        <a:prstGeom prst="roundRect">
          <a:avLst/>
        </a:prstGeom>
        <a:solidFill>
          <a:schemeClr val="lt1">
            <a:alpha val="9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a-DK" sz="1000" b="1" kern="1200" dirty="0" smtClean="0">
              <a:latin typeface="Arial" panose="020B0604020202020204" pitchFamily="34" charset="0"/>
              <a:cs typeface="Arial" panose="020B0604020202020204" pitchFamily="34" charset="0"/>
            </a:rPr>
            <a:t>Grundlæggende sergentuddannelse</a:t>
          </a:r>
          <a:endParaRPr lang="da-DK" sz="1000" b="1" kern="1200" dirty="0">
            <a:latin typeface="Arial" panose="020B0604020202020204" pitchFamily="34" charset="0"/>
            <a:cs typeface="Arial" panose="020B0604020202020204" pitchFamily="34" charset="0"/>
          </a:endParaRPr>
        </a:p>
      </dsp:txBody>
      <dsp:txXfrm>
        <a:off x="132992" y="5239340"/>
        <a:ext cx="2489658" cy="777373"/>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6.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14A339FC-ED4F-4F9C-BB8E-AC5CF519A4A2}" type="datetimeFigureOut">
              <a:rPr lang="da-DK" smtClean="0"/>
              <a:t>04-02-2025</a:t>
            </a:fld>
            <a:endParaRPr lang="da-DK"/>
          </a:p>
        </p:txBody>
      </p:sp>
      <p:sp>
        <p:nvSpPr>
          <p:cNvPr id="4" name="Pladsholder til sidefod 3"/>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9E66A6D0-FCD4-4DC8-9697-6B596EA8753D}" type="slidenum">
              <a:rPr lang="da-DK" smtClean="0"/>
              <a:t>‹nr.›</a:t>
            </a:fld>
            <a:endParaRPr lang="da-DK"/>
          </a:p>
        </p:txBody>
      </p:sp>
    </p:spTree>
    <p:extLst>
      <p:ext uri="{BB962C8B-B14F-4D97-AF65-F5344CB8AC3E}">
        <p14:creationId xmlns:p14="http://schemas.microsoft.com/office/powerpoint/2010/main" val="14550507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DB71C5A9-419D-4604-9467-D727D7803573}" type="datetimeFigureOut">
              <a:rPr lang="da-DK" smtClean="0"/>
              <a:t>04-02-2025</a:t>
            </a:fld>
            <a:endParaRPr lang="da-DK"/>
          </a:p>
        </p:txBody>
      </p:sp>
      <p:sp>
        <p:nvSpPr>
          <p:cNvPr id="4" name="Pladsholder til slidebillede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39414AA2-B00A-4C8E-B675-A6A0415141A6}" type="slidenum">
              <a:rPr lang="da-DK" smtClean="0"/>
              <a:t>‹nr.›</a:t>
            </a:fld>
            <a:endParaRPr lang="da-DK"/>
          </a:p>
        </p:txBody>
      </p:sp>
    </p:spTree>
    <p:extLst>
      <p:ext uri="{BB962C8B-B14F-4D97-AF65-F5344CB8AC3E}">
        <p14:creationId xmlns:p14="http://schemas.microsoft.com/office/powerpoint/2010/main" val="1809268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39414AA2-B00A-4C8E-B675-A6A0415141A6}" type="slidenum">
              <a:rPr lang="da-DK" smtClean="0"/>
              <a:t>1</a:t>
            </a:fld>
            <a:endParaRPr lang="da-DK"/>
          </a:p>
        </p:txBody>
      </p:sp>
    </p:spTree>
    <p:extLst>
      <p:ext uri="{BB962C8B-B14F-4D97-AF65-F5344CB8AC3E}">
        <p14:creationId xmlns:p14="http://schemas.microsoft.com/office/powerpoint/2010/main" val="3566515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59100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84924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69704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65855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53770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789051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39414AA2-B00A-4C8E-B675-A6A0415141A6}" type="slidenum">
              <a:rPr lang="da-DK" smtClean="0"/>
              <a:t>8</a:t>
            </a:fld>
            <a:endParaRPr lang="da-DK"/>
          </a:p>
        </p:txBody>
      </p:sp>
    </p:spTree>
    <p:extLst>
      <p:ext uri="{BB962C8B-B14F-4D97-AF65-F5344CB8AC3E}">
        <p14:creationId xmlns:p14="http://schemas.microsoft.com/office/powerpoint/2010/main" val="3015903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emf"/><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slideMaster" Target="../slideMasters/slideMaster6.xml"/><Relationship Id="rId1" Type="http://schemas.openxmlformats.org/officeDocument/2006/relationships/vmlDrawing" Target="../drawings/vmlDrawing3.vml"/><Relationship Id="rId6" Type="http://schemas.openxmlformats.org/officeDocument/2006/relationships/image" Target="../media/image38.wmf"/><Relationship Id="rId5" Type="http://schemas.openxmlformats.org/officeDocument/2006/relationships/oleObject" Target="../embeddings/oleObject3.bin"/><Relationship Id="rId4" Type="http://schemas.openxmlformats.org/officeDocument/2006/relationships/image" Target="../media/image40.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4.png"/><Relationship Id="rId3" Type="http://schemas.openxmlformats.org/officeDocument/2006/relationships/image" Target="../media/image18.png"/><Relationship Id="rId7" Type="http://schemas.openxmlformats.org/officeDocument/2006/relationships/image" Target="../media/image16.png"/><Relationship Id="rId12" Type="http://schemas.openxmlformats.org/officeDocument/2006/relationships/image" Target="../media/image30.emf"/><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33.png"/><Relationship Id="rId4" Type="http://schemas.openxmlformats.org/officeDocument/2006/relationships/image" Target="../media/image14.png"/><Relationship Id="rId9" Type="http://schemas.openxmlformats.org/officeDocument/2006/relationships/image" Target="../media/image32.png"/><Relationship Id="rId14" Type="http://schemas.openxmlformats.org/officeDocument/2006/relationships/image" Target="../media/image35.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emf"/><Relationship Id="rId1" Type="http://schemas.openxmlformats.org/officeDocument/2006/relationships/slideMaster" Target="../slideMasters/slideMaster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mailto:FKO@mil.dk"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1.xml"/><Relationship Id="rId5" Type="http://schemas.openxmlformats.org/officeDocument/2006/relationships/image" Target="../media/image4.jpg"/><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gif"/><Relationship Id="rId1" Type="http://schemas.openxmlformats.org/officeDocument/2006/relationships/slideMaster" Target="../slideMasters/slideMaster1.xml"/><Relationship Id="rId5" Type="http://schemas.openxmlformats.org/officeDocument/2006/relationships/image" Target="../media/image4.jpg"/><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emf"/><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4.png"/><Relationship Id="rId3" Type="http://schemas.openxmlformats.org/officeDocument/2006/relationships/image" Target="../media/image18.png"/><Relationship Id="rId7" Type="http://schemas.openxmlformats.org/officeDocument/2006/relationships/image" Target="../media/image16.png"/><Relationship Id="rId12" Type="http://schemas.openxmlformats.org/officeDocument/2006/relationships/image" Target="../media/image30.emf"/><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33.png"/><Relationship Id="rId4" Type="http://schemas.openxmlformats.org/officeDocument/2006/relationships/image" Target="../media/image14.png"/><Relationship Id="rId9" Type="http://schemas.openxmlformats.org/officeDocument/2006/relationships/image" Target="../media/image32.png"/><Relationship Id="rId14" Type="http://schemas.openxmlformats.org/officeDocument/2006/relationships/image" Target="../media/image3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gif"/><Relationship Id="rId1" Type="http://schemas.openxmlformats.org/officeDocument/2006/relationships/slideMaster" Target="../slideMasters/slideMaster1.xml"/><Relationship Id="rId5" Type="http://schemas.openxmlformats.org/officeDocument/2006/relationships/image" Target="../media/image4.jpg"/><Relationship Id="rId4" Type="http://schemas.microsoft.com/office/2007/relationships/hdphoto" Target="../media/hdphoto1.wdp"/></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4.png"/><Relationship Id="rId3" Type="http://schemas.openxmlformats.org/officeDocument/2006/relationships/image" Target="../media/image18.png"/><Relationship Id="rId7" Type="http://schemas.openxmlformats.org/officeDocument/2006/relationships/image" Target="../media/image16.png"/><Relationship Id="rId12" Type="http://schemas.openxmlformats.org/officeDocument/2006/relationships/image" Target="../media/image30.emf"/><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33.png"/><Relationship Id="rId4" Type="http://schemas.openxmlformats.org/officeDocument/2006/relationships/image" Target="../media/image14.png"/><Relationship Id="rId9" Type="http://schemas.openxmlformats.org/officeDocument/2006/relationships/image" Target="../media/image32.png"/><Relationship Id="rId1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5.xml"/><Relationship Id="rId4" Type="http://schemas.openxmlformats.org/officeDocument/2006/relationships/image" Target="../media/image4.jp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5.xml"/><Relationship Id="rId5" Type="http://schemas.openxmlformats.org/officeDocument/2006/relationships/image" Target="../media/image4.jpg"/><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gif"/><Relationship Id="rId1" Type="http://schemas.openxmlformats.org/officeDocument/2006/relationships/slideMaster" Target="../slideMasters/slideMaster5.xml"/><Relationship Id="rId5" Type="http://schemas.openxmlformats.org/officeDocument/2006/relationships/image" Target="../media/image4.jpg"/><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5.xml"/><Relationship Id="rId4" Type="http://schemas.openxmlformats.org/officeDocument/2006/relationships/image" Target="../media/image4.jp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gif"/><Relationship Id="rId1" Type="http://schemas.openxmlformats.org/officeDocument/2006/relationships/slideMaster" Target="../slideMasters/slideMaster5.xml"/><Relationship Id="rId5" Type="http://schemas.openxmlformats.org/officeDocument/2006/relationships/image" Target="../media/image4.jpg"/><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mailto:FKO@mil.dk" TargetMode="External"/><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5" y="1871673"/>
            <a:ext cx="108451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3896294"/>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5" y="6450430"/>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4" y="660818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stretch>
            <a:fillRect/>
          </a:stretch>
        </p:blipFill>
        <p:spPr>
          <a:xfrm>
            <a:off x="0"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4"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235970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pic>
        <p:nvPicPr>
          <p:cNvPr id="23" name="Billed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39" y="1150631"/>
            <a:ext cx="4800599" cy="720000"/>
          </a:xfrm>
        </p:spPr>
        <p:txBody>
          <a:bodyPr>
            <a:normAutofit/>
          </a:bodyPr>
          <a:lstStyle>
            <a:lvl1pPr>
              <a:lnSpc>
                <a:spcPct val="108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39" y="2075389"/>
            <a:ext cx="4800599"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39"/>
            <a:ext cx="5617633" cy="4853295"/>
          </a:xfrm>
        </p:spPr>
        <p:txBody>
          <a:bodyPr tIns="720000" anchor="ctr" anchorCtr="0"/>
          <a:lstStyle>
            <a:lvl1pPr marL="0" indent="0" algn="ctr">
              <a:buNone/>
              <a:defRPr/>
            </a:lvl1pPr>
          </a:lstStyle>
          <a:p>
            <a:r>
              <a:rPr lang="da-DK" dirty="0"/>
              <a:t>Klik på ikonet for at tilføje et billede</a:t>
            </a:r>
          </a:p>
        </p:txBody>
      </p:sp>
      <p:sp>
        <p:nvSpPr>
          <p:cNvPr id="16" name="Tjenestebrug">
            <a:extLst>
              <a:ext uri="{FF2B5EF4-FFF2-40B4-BE49-F238E27FC236}">
                <a16:creationId xmlns:a16="http://schemas.microsoft.com/office/drawing/2014/main" id="{87545A53-235D-45E4-A38E-B37C80AD2CE8}"/>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7" name="Afklassificeret">
            <a:extLst>
              <a:ext uri="{FF2B5EF4-FFF2-40B4-BE49-F238E27FC236}">
                <a16:creationId xmlns:a16="http://schemas.microsoft.com/office/drawing/2014/main" id="{0CF71E1F-29C5-4F41-B05F-62C49644D2F5}"/>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9" name="Tjenestebrug">
            <a:extLst>
              <a:ext uri="{FF2B5EF4-FFF2-40B4-BE49-F238E27FC236}">
                <a16:creationId xmlns:a16="http://schemas.microsoft.com/office/drawing/2014/main" id="{BADCC9D5-A7F8-41D0-B642-3BD0CA97D726}"/>
              </a:ext>
            </a:extLst>
          </p:cNvPr>
          <p:cNvSpPr>
            <a:spLocks noGrp="1"/>
          </p:cNvSpPr>
          <p:nvPr>
            <p:ph type="body" sz="quarter" idx="19" hasCustomPrompt="1"/>
          </p:nvPr>
        </p:nvSpPr>
        <p:spPr>
          <a:xfrm>
            <a:off x="4173065" y="6475596"/>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A206DF68-45AF-4E08-BA36-E0B6D0CF5386}"/>
              </a:ext>
            </a:extLst>
          </p:cNvPr>
          <p:cNvSpPr>
            <a:spLocks noGrp="1"/>
          </p:cNvSpPr>
          <p:nvPr>
            <p:ph type="body" sz="quarter" idx="20" hasCustomPrompt="1"/>
          </p:nvPr>
        </p:nvSpPr>
        <p:spPr>
          <a:xfrm>
            <a:off x="4173084" y="663334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4"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5"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26"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7"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5"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961493481"/>
      </p:ext>
    </p:extLst>
  </p:cSld>
  <p:clrMapOvr>
    <a:masterClrMapping/>
  </p:clrMapOvr>
  <p:extLst>
    <p:ext uri="{DCECCB84-F9BA-43D5-87BE-67443E8EF086}">
      <p15:sldGuideLst xmlns:p15="http://schemas.microsoft.com/office/powerpoint/2012/main">
        <p15:guide id="1" pos="2880">
          <p15:clr>
            <a:srgbClr val="000000"/>
          </p15:clr>
        </p15:guide>
        <p15:guide id="2" pos="2743">
          <p15:clr>
            <a:srgbClr val="00000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r>
              <a:rPr lang="da-DK" dirty="0"/>
              <a:t>CH HKO orientering ved NMI 3 APR 22</a:t>
            </a: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4" name="Logo">
            <a:extLst>
              <a:ext uri="{FF2B5EF4-FFF2-40B4-BE49-F238E27FC236}">
                <a16:creationId xmlns:a16="http://schemas.microsoft.com/office/drawing/2014/main" id="{E69CF967-9CAF-418A-BF04-B77515C7A84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
        <p:nvSpPr>
          <p:cNvPr id="26" name="Fast overskrift">
            <a:extLst>
              <a:ext uri="{FF2B5EF4-FFF2-40B4-BE49-F238E27FC236}">
                <a16:creationId xmlns:a16="http://schemas.microsoft.com/office/drawing/2014/main" id="{D49FBF11-8559-475C-B380-4DD69C3FD9FB}"/>
              </a:ext>
            </a:extLst>
          </p:cNvPr>
          <p:cNvSpPr txBox="1"/>
          <p:nvPr userDrawn="1"/>
        </p:nvSpPr>
        <p:spPr>
          <a:xfrm>
            <a:off x="801897" y="869068"/>
            <a:ext cx="10641540" cy="650171"/>
          </a:xfrm>
          <a:prstGeom prst="rect">
            <a:avLst/>
          </a:prstGeom>
          <a:noFill/>
        </p:spPr>
        <p:txBody>
          <a:bodyPr wrap="square" lIns="0" tIns="0" rIns="0" bIns="0" rtlCol="0" anchor="t"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44B0772F-D514-483B-B717-FBFFEB875B26}"/>
              </a:ext>
            </a:extLst>
          </p:cNvPr>
          <p:cNvSpPr txBox="1">
            <a:spLocks noChangeArrowheads="1"/>
          </p:cNvSpPr>
          <p:nvPr userDrawn="1"/>
        </p:nvSpPr>
        <p:spPr bwMode="auto">
          <a:xfrm>
            <a:off x="801897" y="1762720"/>
            <a:ext cx="2945573"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er kan vi skrive noget mere</a:t>
            </a:r>
          </a:p>
        </p:txBody>
      </p:sp>
      <p:pic>
        <p:nvPicPr>
          <p:cNvPr id="45" name="Picture 44">
            <a:extLst>
              <a:ext uri="{FF2B5EF4-FFF2-40B4-BE49-F238E27FC236}">
                <a16:creationId xmlns:a16="http://schemas.microsoft.com/office/drawing/2014/main" id="{AE6C4B29-18A4-42FA-9614-72FBECCB180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45190" y="2284374"/>
            <a:ext cx="489935" cy="187279"/>
          </a:xfrm>
          <a:prstGeom prst="rect">
            <a:avLst/>
          </a:prstGeom>
        </p:spPr>
      </p:pic>
      <p:grpSp>
        <p:nvGrpSpPr>
          <p:cNvPr id="46" name="Group 45">
            <a:extLst>
              <a:ext uri="{FF2B5EF4-FFF2-40B4-BE49-F238E27FC236}">
                <a16:creationId xmlns:a16="http://schemas.microsoft.com/office/drawing/2014/main" id="{09876479-5C12-456C-97BC-D4A3603EBDD0}"/>
              </a:ext>
            </a:extLst>
          </p:cNvPr>
          <p:cNvGrpSpPr/>
          <p:nvPr userDrawn="1"/>
        </p:nvGrpSpPr>
        <p:grpSpPr>
          <a:xfrm>
            <a:off x="2980317" y="3510088"/>
            <a:ext cx="1127296" cy="296229"/>
            <a:chOff x="3102472" y="2807695"/>
            <a:chExt cx="1127002" cy="296229"/>
          </a:xfrm>
        </p:grpSpPr>
        <p:pic>
          <p:nvPicPr>
            <p:cNvPr id="47" name="Picture 46">
              <a:extLst>
                <a:ext uri="{FF2B5EF4-FFF2-40B4-BE49-F238E27FC236}">
                  <a16:creationId xmlns:a16="http://schemas.microsoft.com/office/drawing/2014/main" id="{130DDDCC-88FF-4C66-AFB7-3D8A3506FFC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DF5CF461-D479-45D7-BC3C-ECBE2983B565}"/>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GB" sz="1200" noProof="0" dirty="0" err="1"/>
            </a:p>
          </p:txBody>
        </p:sp>
      </p:grpSp>
      <p:grpSp>
        <p:nvGrpSpPr>
          <p:cNvPr id="49" name="Group 48">
            <a:extLst>
              <a:ext uri="{FF2B5EF4-FFF2-40B4-BE49-F238E27FC236}">
                <a16:creationId xmlns:a16="http://schemas.microsoft.com/office/drawing/2014/main" id="{28A5B27E-7D0E-4276-807F-3F37DC90DC79}"/>
              </a:ext>
            </a:extLst>
          </p:cNvPr>
          <p:cNvGrpSpPr/>
          <p:nvPr userDrawn="1"/>
        </p:nvGrpSpPr>
        <p:grpSpPr>
          <a:xfrm>
            <a:off x="785931" y="2890269"/>
            <a:ext cx="3477224" cy="340348"/>
            <a:chOff x="821551" y="2392335"/>
            <a:chExt cx="3476318" cy="340348"/>
          </a:xfrm>
        </p:grpSpPr>
        <p:pic>
          <p:nvPicPr>
            <p:cNvPr id="50" name="Picture 49">
              <a:extLst>
                <a:ext uri="{FF2B5EF4-FFF2-40B4-BE49-F238E27FC236}">
                  <a16:creationId xmlns:a16="http://schemas.microsoft.com/office/drawing/2014/main" id="{DB1ED320-06C5-40A0-BC33-725FB35466E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6D8054D-96C7-4682-AD87-ABCD12D3300F}"/>
                </a:ext>
              </a:extLst>
            </p:cNvPr>
            <p:cNvSpPr txBox="1"/>
            <p:nvPr userDrawn="1"/>
          </p:nvSpPr>
          <p:spPr>
            <a:xfrm>
              <a:off x="852136" y="2617267"/>
              <a:ext cx="3445733" cy="115416"/>
            </a:xfrm>
            <a:prstGeom prst="rect">
              <a:avLst/>
            </a:prstGeom>
            <a:noFill/>
          </p:spPr>
          <p:txBody>
            <a:bodyPr wrap="square" lIns="0" tIns="0" rIns="0" bIns="0" rtlCol="0">
              <a:spAutoFit/>
            </a:bodyPr>
            <a:lstStyle/>
            <a:p>
              <a:pPr>
                <a:lnSpc>
                  <a:spcPct val="125000"/>
                </a:lnSpc>
                <a:tabLst>
                  <a:tab pos="374650" algn="l"/>
                  <a:tab pos="762000" algn="l"/>
                  <a:tab pos="1141413" algn="l"/>
                  <a:tab pos="1524000" algn="l"/>
                  <a:tab pos="1911350" algn="l"/>
                  <a:tab pos="2293938" algn="l"/>
                  <a:tab pos="2676525" algn="l"/>
                  <a:tab pos="3059113" algn="l"/>
                </a:tabLst>
              </a:pPr>
              <a:r>
                <a:rPr lang="da-DK" sz="600" dirty="0"/>
                <a:t>FMN	FKO	HJV	BRS	FMI	FPS	FES	FRS	FAUK</a:t>
              </a:r>
            </a:p>
          </p:txBody>
        </p:sp>
      </p:grpSp>
      <p:grpSp>
        <p:nvGrpSpPr>
          <p:cNvPr id="52" name="Group 51">
            <a:extLst>
              <a:ext uri="{FF2B5EF4-FFF2-40B4-BE49-F238E27FC236}">
                <a16:creationId xmlns:a16="http://schemas.microsoft.com/office/drawing/2014/main" id="{114BFFB9-2356-40E0-A78B-67631BFFC972}"/>
              </a:ext>
            </a:extLst>
          </p:cNvPr>
          <p:cNvGrpSpPr/>
          <p:nvPr userDrawn="1"/>
        </p:nvGrpSpPr>
        <p:grpSpPr>
          <a:xfrm>
            <a:off x="4668854" y="1762720"/>
            <a:ext cx="3665858" cy="2176646"/>
            <a:chOff x="5381233" y="1527329"/>
            <a:chExt cx="3664903" cy="2176646"/>
          </a:xfrm>
        </p:grpSpPr>
        <p:sp>
          <p:nvSpPr>
            <p:cNvPr id="53" name="Text Box 3">
              <a:extLst>
                <a:ext uri="{FF2B5EF4-FFF2-40B4-BE49-F238E27FC236}">
                  <a16:creationId xmlns:a16="http://schemas.microsoft.com/office/drawing/2014/main" id="{F280D371-25C7-48EC-A573-09CACF22297D}"/>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01F97269-9E4F-491F-99CB-B01B6C5A9CE4}"/>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036971A2-86DD-4DD1-BE4F-B291BE7EE4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A03DDA49-F5A0-4455-9E15-93600150D9B9}"/>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grpSp>
          <p:nvGrpSpPr>
            <p:cNvPr id="55" name="Group 54">
              <a:extLst>
                <a:ext uri="{FF2B5EF4-FFF2-40B4-BE49-F238E27FC236}">
                  <a16:creationId xmlns:a16="http://schemas.microsoft.com/office/drawing/2014/main" id="{12DA9BE6-2980-4876-BDD8-38B70336ABD2}"/>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E5D26F40-3C2E-4D3C-B06A-77DE795ED36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9853F4BB-F4D1-406C-864B-AB42778A897D}"/>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pic>
          <p:nvPicPr>
            <p:cNvPr id="56" name="Picture 55">
              <a:extLst>
                <a:ext uri="{FF2B5EF4-FFF2-40B4-BE49-F238E27FC236}">
                  <a16:creationId xmlns:a16="http://schemas.microsoft.com/office/drawing/2014/main" id="{66F55DD3-6F60-4689-8C43-802F50E834FA}"/>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BF3CECA7-6525-4B2A-A938-A4633E6795EC}"/>
              </a:ext>
            </a:extLst>
          </p:cNvPr>
          <p:cNvSpPr txBox="1">
            <a:spLocks noChangeArrowheads="1"/>
          </p:cNvSpPr>
          <p:nvPr userDrawn="1"/>
        </p:nvSpPr>
        <p:spPr bwMode="auto">
          <a:xfrm>
            <a:off x="4668853" y="4085834"/>
            <a:ext cx="3698736"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nSpc>
                <a:spcPct val="125000"/>
              </a:lnSpc>
              <a:spcAft>
                <a:spcPts val="600"/>
              </a:spcAft>
            </a:pPr>
            <a:r>
              <a:rPr lang="da-DK" sz="900" b="1" i="0" kern="1200" dirty="0">
                <a:solidFill>
                  <a:schemeClr val="tx1"/>
                </a:solidFill>
                <a:effectLst/>
                <a:latin typeface="Arial" panose="020B0604020202020204" pitchFamily="34" charset="0"/>
                <a:ea typeface="+mn-ea"/>
                <a:cs typeface="Arial" panose="020B0604020202020204" pitchFamily="34" charset="0"/>
              </a:rPr>
              <a:t>Hvis mærket bliver meget lille</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lang="en-GB" sz="900" i="0" dirty="0" err="1">
              <a:latin typeface="Arial" panose="020B0604020202020204" pitchFamily="34" charset="0"/>
              <a:cs typeface="Arial" panose="020B0604020202020204" pitchFamily="34" charset="0"/>
            </a:endParaRPr>
          </a:p>
        </p:txBody>
      </p:sp>
      <p:cxnSp>
        <p:nvCxnSpPr>
          <p:cNvPr id="62" name="Straight Connector 61">
            <a:extLst>
              <a:ext uri="{FF2B5EF4-FFF2-40B4-BE49-F238E27FC236}">
                <a16:creationId xmlns:a16="http://schemas.microsoft.com/office/drawing/2014/main" id="{A5AB1DD3-8D67-40C1-8691-FC593E6BBF6D}"/>
              </a:ext>
            </a:extLst>
          </p:cNvPr>
          <p:cNvCxnSpPr/>
          <p:nvPr userDrawn="1"/>
        </p:nvCxnSpPr>
        <p:spPr>
          <a:xfrm>
            <a:off x="4403748"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FE5AD694-572D-406F-ADEE-10F79246A489}"/>
              </a:ext>
            </a:extLst>
          </p:cNvPr>
          <p:cNvSpPr txBox="1">
            <a:spLocks noChangeArrowheads="1"/>
          </p:cNvSpPr>
          <p:nvPr userDrawn="1"/>
        </p:nvSpPr>
        <p:spPr bwMode="auto">
          <a:xfrm>
            <a:off x="8874943" y="1757533"/>
            <a:ext cx="2945573"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F4D3AE42-95D5-4279-910A-8B0A7F587170}"/>
              </a:ext>
            </a:extLst>
          </p:cNvPr>
          <p:cNvCxnSpPr/>
          <p:nvPr userDrawn="1"/>
        </p:nvCxnSpPr>
        <p:spPr>
          <a:xfrm>
            <a:off x="8604827"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66078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Kun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her for at tilføje en titel</a:t>
            </a:r>
          </a:p>
        </p:txBody>
      </p:sp>
      <p:sp>
        <p:nvSpPr>
          <p:cNvPr id="12" name="Tjenestebrug">
            <a:extLst>
              <a:ext uri="{FF2B5EF4-FFF2-40B4-BE49-F238E27FC236}">
                <a16:creationId xmlns:a16="http://schemas.microsoft.com/office/drawing/2014/main" id="{D1868055-18E6-40E8-B805-B82F14A9584C}"/>
              </a:ext>
            </a:extLst>
          </p:cNvPr>
          <p:cNvSpPr>
            <a:spLocks noGrp="1"/>
          </p:cNvSpPr>
          <p:nvPr>
            <p:ph type="body" sz="quarter" idx="16" hasCustomPrompt="1"/>
          </p:nvPr>
        </p:nvSpPr>
        <p:spPr>
          <a:xfrm>
            <a:off x="4173067" y="113146"/>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3" name="Afklassificeret">
            <a:extLst>
              <a:ext uri="{FF2B5EF4-FFF2-40B4-BE49-F238E27FC236}">
                <a16:creationId xmlns:a16="http://schemas.microsoft.com/office/drawing/2014/main" id="{8126867F-BD3A-45BA-96EE-6E9AE4F5EE72}"/>
              </a:ext>
            </a:extLst>
          </p:cNvPr>
          <p:cNvSpPr>
            <a:spLocks noGrp="1"/>
          </p:cNvSpPr>
          <p:nvPr>
            <p:ph type="body" sz="quarter" idx="17" hasCustomPrompt="1"/>
          </p:nvPr>
        </p:nvSpPr>
        <p:spPr>
          <a:xfrm>
            <a:off x="4173069" y="277200"/>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5" name="Tjenestebrug">
            <a:extLst>
              <a:ext uri="{FF2B5EF4-FFF2-40B4-BE49-F238E27FC236}">
                <a16:creationId xmlns:a16="http://schemas.microsoft.com/office/drawing/2014/main" id="{64E702A2-5A83-4FD2-A285-D7CF9FDB7FE8}"/>
              </a:ext>
            </a:extLst>
          </p:cNvPr>
          <p:cNvSpPr>
            <a:spLocks noGrp="1"/>
          </p:cNvSpPr>
          <p:nvPr>
            <p:ph type="body" sz="quarter" idx="19" hasCustomPrompt="1"/>
          </p:nvPr>
        </p:nvSpPr>
        <p:spPr>
          <a:xfrm>
            <a:off x="4173066" y="6475588"/>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D07E64A7-4EFA-440B-9CFF-446374F93970}"/>
              </a:ext>
            </a:extLst>
          </p:cNvPr>
          <p:cNvSpPr>
            <a:spLocks noGrp="1"/>
          </p:cNvSpPr>
          <p:nvPr>
            <p:ph type="body" sz="quarter" idx="20" hasCustomPrompt="1"/>
          </p:nvPr>
        </p:nvSpPr>
        <p:spPr>
          <a:xfrm>
            <a:off x="4173068" y="6633347"/>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2" name="Pladsholder til dato 14"/>
          <p:cNvSpPr>
            <a:spLocks noGrp="1"/>
          </p:cNvSpPr>
          <p:nvPr>
            <p:ph type="dt" sz="half" idx="22"/>
          </p:nvPr>
        </p:nvSpPr>
        <p:spPr>
          <a:xfrm>
            <a:off x="8226824" y="6571530"/>
            <a:ext cx="2988644" cy="108000"/>
          </a:xfrm>
        </p:spPr>
        <p:txBody>
          <a:bodyPr/>
          <a:lstStyle/>
          <a:p>
            <a:endParaRPr lang="en-GB" dirty="0">
              <a:solidFill>
                <a:prstClr val="black"/>
              </a:solidFill>
            </a:endParaRPr>
          </a:p>
        </p:txBody>
      </p:sp>
      <p:sp>
        <p:nvSpPr>
          <p:cNvPr id="23" name="Pladsholder til sidefod 15"/>
          <p:cNvSpPr>
            <a:spLocks noGrp="1"/>
          </p:cNvSpPr>
          <p:nvPr>
            <p:ph type="ftr" sz="quarter" idx="23"/>
          </p:nvPr>
        </p:nvSpPr>
        <p:spPr>
          <a:xfrm>
            <a:off x="8226824" y="6420467"/>
            <a:ext cx="2988644" cy="146223"/>
          </a:xfrm>
        </p:spPr>
        <p:txBody>
          <a:bodyPr/>
          <a:lstStyle/>
          <a:p>
            <a:r>
              <a:rPr lang="en-GB" dirty="0">
                <a:solidFill>
                  <a:prstClr val="black"/>
                </a:solidFill>
              </a:rPr>
              <a:t>CH HKO </a:t>
            </a:r>
            <a:r>
              <a:rPr lang="en-GB" dirty="0" err="1">
                <a:solidFill>
                  <a:prstClr val="black"/>
                </a:solidFill>
              </a:rPr>
              <a:t>orientering</a:t>
            </a:r>
            <a:r>
              <a:rPr lang="en-GB" dirty="0">
                <a:solidFill>
                  <a:prstClr val="black"/>
                </a:solidFill>
              </a:rPr>
              <a:t> </a:t>
            </a:r>
            <a:r>
              <a:rPr lang="en-GB" dirty="0" err="1">
                <a:solidFill>
                  <a:prstClr val="black"/>
                </a:solidFill>
              </a:rPr>
              <a:t>ved</a:t>
            </a:r>
            <a:r>
              <a:rPr lang="en-GB" dirty="0">
                <a:solidFill>
                  <a:prstClr val="black"/>
                </a:solidFill>
              </a:rPr>
              <a:t> NMI 3 APR 22</a:t>
            </a:r>
          </a:p>
        </p:txBody>
      </p:sp>
      <p:sp>
        <p:nvSpPr>
          <p:cNvPr id="24" name="Pladsholder til tekst 2"/>
          <p:cNvSpPr>
            <a:spLocks noGrp="1"/>
          </p:cNvSpPr>
          <p:nvPr>
            <p:ph type="body" sz="quarter" idx="25" hasCustomPrompt="1"/>
          </p:nvPr>
        </p:nvSpPr>
        <p:spPr>
          <a:xfrm>
            <a:off x="8226949" y="6278040"/>
            <a:ext cx="2989691" cy="122237"/>
          </a:xfrm>
        </p:spPr>
        <p:txBody>
          <a:bodyPr/>
          <a:lstStyle>
            <a:lvl1pPr marL="0" indent="0" algn="r">
              <a:buNone/>
              <a:defRPr sz="700" b="1" baseline="0"/>
            </a:lvl1pPr>
          </a:lstStyle>
          <a:p>
            <a:pPr lvl="0"/>
            <a:r>
              <a:rPr lang="da-DK" dirty="0"/>
              <a:t>Klik her for at tilføje titel </a:t>
            </a:r>
          </a:p>
        </p:txBody>
      </p:sp>
      <p:sp>
        <p:nvSpPr>
          <p:cNvPr id="25" name="Pladsholder til tekst 2"/>
          <p:cNvSpPr>
            <a:spLocks noGrp="1"/>
          </p:cNvSpPr>
          <p:nvPr>
            <p:ph type="body" sz="quarter" idx="26" hasCustomPrompt="1"/>
          </p:nvPr>
        </p:nvSpPr>
        <p:spPr>
          <a:xfrm>
            <a:off x="8239318" y="6684882"/>
            <a:ext cx="2989691" cy="122237"/>
          </a:xfrm>
        </p:spPr>
        <p:txBody>
          <a:bodyPr/>
          <a:lstStyle>
            <a:lvl1pPr marL="0" indent="0" algn="r">
              <a:buNone/>
              <a:defRPr sz="700" b="0" i="0"/>
            </a:lvl1pPr>
          </a:lstStyle>
          <a:p>
            <a:pPr lvl="0"/>
            <a:r>
              <a:rPr lang="da-DK" dirty="0"/>
              <a:t>Klik for at tilføje REF</a:t>
            </a:r>
          </a:p>
        </p:txBody>
      </p:sp>
      <p:sp>
        <p:nvSpPr>
          <p:cNvPr id="14"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17" name="Billede 16"/>
          <p:cNvPicPr>
            <a:picLocks noChangeAspect="1"/>
          </p:cNvPicPr>
          <p:nvPr userDrawn="1"/>
        </p:nvPicPr>
        <p:blipFill>
          <a:blip r:embed="rId2"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492923" y="130695"/>
            <a:ext cx="1803710" cy="417804"/>
          </a:xfrm>
          <a:prstGeom prst="rect">
            <a:avLst/>
          </a:prstGeom>
        </p:spPr>
      </p:pic>
    </p:spTree>
    <p:extLst>
      <p:ext uri="{BB962C8B-B14F-4D97-AF65-F5344CB8AC3E}">
        <p14:creationId xmlns:p14="http://schemas.microsoft.com/office/powerpoint/2010/main" val="15038246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Titeldias">
    <p:spTree>
      <p:nvGrpSpPr>
        <p:cNvPr id="1" name=""/>
        <p:cNvGrpSpPr/>
        <p:nvPr/>
      </p:nvGrpSpPr>
      <p:grpSpPr>
        <a:xfrm>
          <a:off x="0" y="0"/>
          <a:ext cx="0" cy="0"/>
          <a:chOff x="0" y="0"/>
          <a:chExt cx="0" cy="0"/>
        </a:xfrm>
      </p:grpSpPr>
      <p:sp>
        <p:nvSpPr>
          <p:cNvPr id="8" name="Pladsholder til sidefod 8"/>
          <p:cNvSpPr txBox="1">
            <a:spLocks/>
          </p:cNvSpPr>
          <p:nvPr userDrawn="1"/>
        </p:nvSpPr>
        <p:spPr>
          <a:xfrm>
            <a:off x="4062777" y="6298229"/>
            <a:ext cx="3860800" cy="365125"/>
          </a:xfrm>
          <a:prstGeom prst="rect">
            <a:avLst/>
          </a:prstGeom>
        </p:spPr>
        <p:txBody>
          <a:bodyPr/>
          <a:lstStyle>
            <a:lvl1pPr algn="ctr" defTabSz="457200" rtl="0" fontAlgn="base">
              <a:spcBef>
                <a:spcPct val="0"/>
              </a:spcBef>
              <a:spcAft>
                <a:spcPct val="0"/>
              </a:spcAft>
              <a:defRPr lang="da-DK" sz="900" b="0" kern="1200" cap="all" baseline="0" dirty="0" smtClean="0">
                <a:solidFill>
                  <a:srgbClr val="FF0000"/>
                </a:solidFill>
                <a:latin typeface="Arial" charset="0"/>
                <a:ea typeface="+mn-ea"/>
                <a:cs typeface="+mn-cs"/>
              </a:defRPr>
            </a:lvl1pPr>
          </a:lstStyle>
          <a:p>
            <a:pPr marL="0" marR="0" lvl="0" indent="0" algn="ctr" defTabSz="609402" rtl="0" eaLnBrk="1" fontAlgn="base" latinLnBrk="0" hangingPunct="1">
              <a:lnSpc>
                <a:spcPct val="100000"/>
              </a:lnSpc>
              <a:spcBef>
                <a:spcPct val="0"/>
              </a:spcBef>
              <a:spcAft>
                <a:spcPct val="0"/>
              </a:spcAft>
              <a:buClrTx/>
              <a:buSzTx/>
              <a:buFontTx/>
              <a:buNone/>
              <a:tabLst/>
              <a:defRPr/>
            </a:pPr>
            <a:r>
              <a:rPr kumimoji="0" lang="da-DK" sz="1333" b="1" i="0" u="none" strike="noStrike" kern="1200" cap="all"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Til tjenestebrug</a:t>
            </a:r>
          </a:p>
        </p:txBody>
      </p:sp>
      <p:sp>
        <p:nvSpPr>
          <p:cNvPr id="2" name="Rektangel 1"/>
          <p:cNvSpPr/>
          <p:nvPr userDrawn="1"/>
        </p:nvSpPr>
        <p:spPr>
          <a:xfrm>
            <a:off x="1487490" y="5991094"/>
            <a:ext cx="9850096" cy="297454"/>
          </a:xfrm>
          <a:prstGeom prst="rect">
            <a:avLst/>
          </a:prstGeom>
        </p:spPr>
        <p:txBody>
          <a:bodyPr wrap="square">
            <a:spAutoFit/>
          </a:bodyPr>
          <a:lstStyle/>
          <a:p>
            <a:pPr algn="ctr"/>
            <a:r>
              <a:rPr lang="da-DK" sz="1333" b="1" i="1" dirty="0">
                <a:latin typeface="Verdana" panose="020B0604030504040204" pitchFamily="34" charset="0"/>
                <a:ea typeface="Verdana" panose="020B0604030504040204" pitchFamily="34" charset="0"/>
                <a:cs typeface="Verdana" panose="020B0604030504040204" pitchFamily="34" charset="0"/>
              </a:rPr>
              <a:t>”Operationsstaben indsætter Forsvarets kapaciteter til gavn for Danmark”</a:t>
            </a:r>
          </a:p>
        </p:txBody>
      </p:sp>
    </p:spTree>
    <p:extLst>
      <p:ext uri="{BB962C8B-B14F-4D97-AF65-F5344CB8AC3E}">
        <p14:creationId xmlns:p14="http://schemas.microsoft.com/office/powerpoint/2010/main" val="16365098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Akut Ammunitionsrydning">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rotWithShape="1">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a:off x="-48681" y="11"/>
            <a:ext cx="12191999" cy="6857999"/>
          </a:xfrm>
          <a:prstGeom prst="rect">
            <a:avLst/>
          </a:prstGeom>
          <a:ln w="57150">
            <a:noFill/>
            <a:headEnd type="triangle" w="med" len="med"/>
            <a:tailEnd type="none" w="med" len="med"/>
          </a:ln>
        </p:spPr>
      </p:pic>
      <p:pic>
        <p:nvPicPr>
          <p:cNvPr id="26627"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10688" y="487957"/>
            <a:ext cx="9177867" cy="7357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el 1"/>
          <p:cNvSpPr txBox="1">
            <a:spLocks/>
          </p:cNvSpPr>
          <p:nvPr userDrawn="1"/>
        </p:nvSpPr>
        <p:spPr>
          <a:xfrm>
            <a:off x="3215680" y="-27383"/>
            <a:ext cx="6096660" cy="672075"/>
          </a:xfrm>
          <a:prstGeom prst="rect">
            <a:avLst/>
          </a:prstGeom>
          <a:noFill/>
          <a:effectLst>
            <a:softEdge rad="127000"/>
          </a:effectLst>
        </p:spPr>
        <p:txBody>
          <a:bodyPr anchor="ctr"/>
          <a:lstStyle>
            <a:lvl1pPr algn="ctr" defTabSz="457200" rtl="0" eaLnBrk="1" latinLnBrk="0" hangingPunct="1">
              <a:spcBef>
                <a:spcPct val="0"/>
              </a:spcBef>
              <a:buNone/>
              <a:defRPr sz="2400" b="1" kern="1200">
                <a:solidFill>
                  <a:schemeClr val="accent6">
                    <a:lumMod val="7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da-DK" sz="2666" dirty="0">
                <a:solidFill>
                  <a:schemeClr val="tx1"/>
                </a:solidFill>
              </a:rPr>
              <a:t>AKUT AMMUNITIONSRYDNING</a:t>
            </a:r>
          </a:p>
        </p:txBody>
      </p:sp>
      <p:graphicFrame>
        <p:nvGraphicFramePr>
          <p:cNvPr id="3" name="Objekt 2"/>
          <p:cNvGraphicFramePr>
            <a:graphicFrameLocks noChangeAspect="1"/>
          </p:cNvGraphicFramePr>
          <p:nvPr userDrawn="1"/>
        </p:nvGraphicFramePr>
        <p:xfrm>
          <a:off x="11510434" y="67733"/>
          <a:ext cx="635000" cy="770467"/>
        </p:xfrm>
        <a:graphic>
          <a:graphicData uri="http://schemas.openxmlformats.org/presentationml/2006/ole">
            <mc:AlternateContent xmlns:mc="http://schemas.openxmlformats.org/markup-compatibility/2006">
              <mc:Choice xmlns:v="urn:schemas-microsoft-com:vml" Requires="v">
                <p:oleObj spid="_x0000_s3152" name="Designer Drawing" r:id="rId5" imgW="880872" imgH="1121664" progId="">
                  <p:embed/>
                </p:oleObj>
              </mc:Choice>
              <mc:Fallback>
                <p:oleObj name="Designer Drawing" r:id="rId5" imgW="880872" imgH="1121664" progId="">
                  <p:embed/>
                  <p:pic>
                    <p:nvPicPr>
                      <p:cNvPr id="3" name="Objek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10434" y="67733"/>
                        <a:ext cx="635000" cy="770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1" name="Gruppe 10"/>
          <p:cNvGrpSpPr/>
          <p:nvPr userDrawn="1"/>
        </p:nvGrpSpPr>
        <p:grpSpPr>
          <a:xfrm>
            <a:off x="3263701" y="2652934"/>
            <a:ext cx="624054" cy="679992"/>
            <a:chOff x="1403648" y="1639533"/>
            <a:chExt cx="468040" cy="509994"/>
          </a:xfrm>
        </p:grpSpPr>
        <p:pic>
          <p:nvPicPr>
            <p:cNvPr id="12" name="Billede 11" descr="EOD 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a:off x="1403648" y="1639533"/>
              <a:ext cx="447479" cy="368631"/>
            </a:xfrm>
            <a:prstGeom prst="rect">
              <a:avLst/>
            </a:prstGeom>
          </p:spPr>
        </p:pic>
        <p:sp>
          <p:nvSpPr>
            <p:cNvPr id="13" name="Tekstboks 12"/>
            <p:cNvSpPr txBox="1"/>
            <p:nvPr/>
          </p:nvSpPr>
          <p:spPr>
            <a:xfrm>
              <a:off x="1413718" y="1995686"/>
              <a:ext cx="421978" cy="153841"/>
            </a:xfrm>
            <a:prstGeom prst="rect">
              <a:avLst/>
            </a:prstGeom>
            <a:noFill/>
          </p:spPr>
          <p:txBody>
            <a:bodyPr wrap="square" lIns="36000" tIns="0" rIns="36000" bIns="0" rtlCol="0">
              <a:spAutoFit/>
            </a:bodyPr>
            <a:lstStyle/>
            <a:p>
              <a:r>
                <a:rPr lang="da-DK" sz="1333" b="1"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EOD</a:t>
              </a:r>
            </a:p>
          </p:txBody>
        </p:sp>
        <p:sp>
          <p:nvSpPr>
            <p:cNvPr id="14" name="Ellipse 13"/>
            <p:cNvSpPr/>
            <p:nvPr/>
          </p:nvSpPr>
          <p:spPr>
            <a:xfrm>
              <a:off x="1763688" y="2031702"/>
              <a:ext cx="108000" cy="108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33">
                <a:solidFill>
                  <a:prstClr val="white"/>
                </a:solidFill>
              </a:endParaRPr>
            </a:p>
          </p:txBody>
        </p:sp>
      </p:grpSp>
      <p:grpSp>
        <p:nvGrpSpPr>
          <p:cNvPr id="15" name="Gruppe 14"/>
          <p:cNvGrpSpPr/>
          <p:nvPr userDrawn="1"/>
        </p:nvGrpSpPr>
        <p:grpSpPr>
          <a:xfrm>
            <a:off x="7008117" y="4197084"/>
            <a:ext cx="624054" cy="679992"/>
            <a:chOff x="1403648" y="1639533"/>
            <a:chExt cx="468040" cy="509994"/>
          </a:xfrm>
        </p:grpSpPr>
        <p:pic>
          <p:nvPicPr>
            <p:cNvPr id="16" name="Billede 15" descr="EOD 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a:off x="1403648" y="1639533"/>
              <a:ext cx="447479" cy="368631"/>
            </a:xfrm>
            <a:prstGeom prst="rect">
              <a:avLst/>
            </a:prstGeom>
          </p:spPr>
        </p:pic>
        <p:sp>
          <p:nvSpPr>
            <p:cNvPr id="17" name="Tekstboks 16"/>
            <p:cNvSpPr txBox="1"/>
            <p:nvPr/>
          </p:nvSpPr>
          <p:spPr>
            <a:xfrm>
              <a:off x="1413718" y="1995686"/>
              <a:ext cx="421978" cy="153841"/>
            </a:xfrm>
            <a:prstGeom prst="rect">
              <a:avLst/>
            </a:prstGeom>
            <a:noFill/>
          </p:spPr>
          <p:txBody>
            <a:bodyPr wrap="square" lIns="36000" tIns="0" rIns="36000" bIns="0" rtlCol="0">
              <a:spAutoFit/>
            </a:bodyPr>
            <a:lstStyle/>
            <a:p>
              <a:r>
                <a:rPr lang="da-DK" sz="1333" b="1"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EOD</a:t>
              </a:r>
            </a:p>
          </p:txBody>
        </p:sp>
        <p:sp>
          <p:nvSpPr>
            <p:cNvPr id="18" name="Ellipse 17"/>
            <p:cNvSpPr/>
            <p:nvPr/>
          </p:nvSpPr>
          <p:spPr>
            <a:xfrm>
              <a:off x="1763688" y="2031702"/>
              <a:ext cx="108000" cy="108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33">
                <a:solidFill>
                  <a:prstClr val="white"/>
                </a:solidFill>
              </a:endParaRPr>
            </a:p>
          </p:txBody>
        </p:sp>
      </p:grpSp>
      <p:pic>
        <p:nvPicPr>
          <p:cNvPr id="19" name="Picture Placeholder 21">
            <a:extLst>
              <a:ext uri="{FF2B5EF4-FFF2-40B4-BE49-F238E27FC236}">
                <a16:creationId xmlns:a16="http://schemas.microsoft.com/office/drawing/2014/main" id="{F7C1A1E2-5B76-4C36-8E47-30D148F96A8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5038" y="56493"/>
            <a:ext cx="3133437" cy="602765"/>
          </a:xfrm>
          <a:prstGeom prst="rect">
            <a:avLst/>
          </a:prstGeom>
        </p:spPr>
      </p:pic>
    </p:spTree>
    <p:extLst>
      <p:ext uri="{BB962C8B-B14F-4D97-AF65-F5344CB8AC3E}">
        <p14:creationId xmlns:p14="http://schemas.microsoft.com/office/powerpoint/2010/main" val="16284334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84490" y="3701880"/>
            <a:ext cx="5294103" cy="1161600"/>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7" y="4983982"/>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7" y="5960100"/>
            <a:ext cx="10588207"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pic>
        <p:nvPicPr>
          <p:cNvPr id="17" name="Pladsholder til billede 24" descr="FPS_Grå_RGB.png"/>
          <p:cNvPicPr>
            <a:picLocks noChangeAspect="1"/>
          </p:cNvPicPr>
          <p:nvPr userDrawn="1"/>
        </p:nvPicPr>
        <p:blipFill>
          <a:blip r:embed="rId2" cstate="print"/>
          <a:srcRect t="7545" b="7545"/>
          <a:stretch>
            <a:fillRect/>
          </a:stretch>
        </p:blipFill>
        <p:spPr>
          <a:xfrm>
            <a:off x="483275" y="148445"/>
            <a:ext cx="3484747" cy="601200"/>
          </a:xfrm>
          <a:prstGeom prst="rect">
            <a:avLst/>
          </a:prstGeom>
        </p:spPr>
      </p:pic>
    </p:spTree>
    <p:extLst>
      <p:ext uri="{BB962C8B-B14F-4D97-AF65-F5344CB8AC3E}">
        <p14:creationId xmlns:p14="http://schemas.microsoft.com/office/powerpoint/2010/main" val="318536268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8042" y="291243"/>
            <a:ext cx="3616422" cy="571114"/>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0" y="1928817"/>
            <a:ext cx="105977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2"/>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7" y="5960100"/>
            <a:ext cx="10588207"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29427320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7E9BCEF4-7844-49AA-9C29-E26470A377E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6B8D684C-6BEA-4C81-AAFE-F31A43720693}"/>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379EB76D-315B-4B5B-B041-FF40201D4F5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9634AAAC-51EE-4FCD-AAFE-50F5C047DEB9}"/>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B0213CFD-09AF-4AF8-A4A7-0EA8C39AAFE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610B61A6-CE0F-4437-AE05-C3AF25F6346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5C34CD16-008B-4BC1-8633-41223484C5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1898765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4" y="1152001"/>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1"/>
            <a:ext cx="758512"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9" y="1925482"/>
            <a:ext cx="1630015"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6" y="1925482"/>
            <a:ext cx="5421137"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934CEC8A-C8FB-4D28-B7F9-6ADBCE5A9C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Tree>
    <p:extLst>
      <p:ext uri="{BB962C8B-B14F-4D97-AF65-F5344CB8AC3E}">
        <p14:creationId xmlns:p14="http://schemas.microsoft.com/office/powerpoint/2010/main" val="8569968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5" y="1152001"/>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4"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5" y="5454664"/>
            <a:ext cx="10593959"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BEDA8DD-5684-41C1-819A-3C452F6F5E5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12834365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5" y="2075383"/>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1" y="1150634"/>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9798D945-A512-4B40-808D-20047F570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4294252046"/>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34" y="1150631"/>
            <a:ext cx="4828117" cy="720000"/>
          </a:xfrm>
        </p:spPr>
        <p:txBody>
          <a:bodyPr>
            <a:normAutofit/>
          </a:bodyPr>
          <a:lstStyle>
            <a:lvl1pPr>
              <a:lnSpc>
                <a:spcPct val="108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51" y="2075389"/>
            <a:ext cx="4828116"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33"/>
            <a:ext cx="561763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96000" y="3679200"/>
            <a:ext cx="5617632" cy="2325600"/>
          </a:xfrm>
        </p:spPr>
        <p:txBody>
          <a:bodyPr tIns="720000" anchor="ctr" anchorCtr="0"/>
          <a:lstStyle>
            <a:lvl1pPr marL="0" indent="0" algn="ctr">
              <a:buNone/>
              <a:defRPr/>
            </a:lvl1pPr>
          </a:lstStyle>
          <a:p>
            <a:r>
              <a:rPr lang="da-DK" dirty="0"/>
              <a:t>Klik på ikonet for at tilføje et billede</a:t>
            </a:r>
          </a:p>
        </p:txBody>
      </p:sp>
      <p:sp>
        <p:nvSpPr>
          <p:cNvPr id="18" name="Tjenestebrug">
            <a:extLst>
              <a:ext uri="{FF2B5EF4-FFF2-40B4-BE49-F238E27FC236}">
                <a16:creationId xmlns:a16="http://schemas.microsoft.com/office/drawing/2014/main" id="{48512F60-E631-40CD-9BB2-460B0C08AA9A}"/>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07818D5B-E0E6-4063-BCE8-F369604002C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1" name="Tjenestebrug">
            <a:extLst>
              <a:ext uri="{FF2B5EF4-FFF2-40B4-BE49-F238E27FC236}">
                <a16:creationId xmlns:a16="http://schemas.microsoft.com/office/drawing/2014/main" id="{C0B00DF4-5DE8-422F-AC74-36A71D47AA33}"/>
              </a:ext>
            </a:extLst>
          </p:cNvPr>
          <p:cNvSpPr>
            <a:spLocks noGrp="1"/>
          </p:cNvSpPr>
          <p:nvPr>
            <p:ph type="body" sz="quarter" idx="19" hasCustomPrompt="1"/>
          </p:nvPr>
        </p:nvSpPr>
        <p:spPr>
          <a:xfrm>
            <a:off x="4173065" y="649237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2" name="Afklassificeret">
            <a:extLst>
              <a:ext uri="{FF2B5EF4-FFF2-40B4-BE49-F238E27FC236}">
                <a16:creationId xmlns:a16="http://schemas.microsoft.com/office/drawing/2014/main" id="{4D21C6AA-4742-4444-8727-8DC56B4823BB}"/>
              </a:ext>
            </a:extLst>
          </p:cNvPr>
          <p:cNvSpPr>
            <a:spLocks noGrp="1"/>
          </p:cNvSpPr>
          <p:nvPr>
            <p:ph type="body" sz="quarter" idx="20" hasCustomPrompt="1"/>
          </p:nvPr>
        </p:nvSpPr>
        <p:spPr>
          <a:xfrm>
            <a:off x="4173084" y="665012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6"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27"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8"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58353188"/>
      </p:ext>
    </p:extLst>
  </p:cSld>
  <p:clrMapOvr>
    <a:masterClrMapping/>
  </p:clrMapOvr>
  <p:extLst>
    <p:ext uri="{DCECCB84-F9BA-43D5-87BE-67443E8EF086}">
      <p15:sldGuideLst xmlns:p15="http://schemas.microsoft.com/office/powerpoint/2012/main">
        <p15:guide id="1" pos="2880">
          <p15:clr>
            <a:srgbClr val="000000"/>
          </p15:clr>
        </p15:guide>
        <p15:guide id="3" pos="2757">
          <p15:clr>
            <a:srgbClr val="00000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5383"/>
            <a:ext cx="5033754"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1"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4BC8EDD-67B4-429E-AA41-8DE45F7A4165}"/>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5981FD92-853F-4EF4-AB6A-CB3D58EABC53}"/>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344DC34-B415-4C79-83EC-FD18BB13B232}"/>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7C4FAB30-1C07-456C-A9BB-7801F945DD4A}"/>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5A9E7A4-DD51-4138-BF52-C82A0D1F04B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DC249281-EF66-4F7E-AC42-D497D19E4F6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56F07596-996D-4575-A2A3-5376224453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2213594577"/>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7200"/>
            <a:ext cx="5033222"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4"/>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6"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71EE84BD-B6F2-4D6F-9341-F05F2F9371C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981951D-EA32-4B8C-98C7-6CC29CC3343F}"/>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985677D0-2910-4BE6-B9AD-63E027FCBB8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A9A7AEA-2CCB-4B7C-9A41-05A2536073D9}"/>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E0F4DF8F-C91D-47EE-878E-88A75593993A}"/>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3D20EC0-5FE2-452A-95AC-E2227ACA46A0}"/>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B4716AE2-37B0-4F3D-93A2-B5C1D963D5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307419359"/>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5" y="786306"/>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1" y="3666199"/>
            <a:ext cx="2524782"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58039C2-81DC-48AD-9E34-AE4253D547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447708812"/>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5"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7A139209-2B0E-45A0-A5BB-3F089D1BB6E3}"/>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65B7337B-0AB1-4388-A313-A61391ADF5C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0A6CDB6A-641A-447E-A32D-F7D87A530E52}"/>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6BC8E76A-C235-4184-8FB8-BDE06D9B92B3}"/>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DDCFF06A-ADD6-4BB6-96B8-B89E476B454F}"/>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5FFA91E3-3B17-4E6F-B153-399A48D709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1A56DEB6-F279-4755-B90D-FBCA2DFB35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0907097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5"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ABDD9822-0569-4243-9647-E62032E356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16487661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553" y="4653651"/>
            <a:ext cx="3506944" cy="553825"/>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0"/>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4"/>
            <a:ext cx="288000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4. februar 2025</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66433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31" name="Text Box 2"/>
          <p:cNvSpPr txBox="1">
            <a:spLocks noChangeArrowheads="1"/>
          </p:cNvSpPr>
          <p:nvPr userDrawn="1"/>
        </p:nvSpPr>
        <p:spPr bwMode="auto">
          <a:xfrm>
            <a:off x="8535544" y="1532529"/>
            <a:ext cx="3021178"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æt den på igen ved at klikke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isteniveau bruges</a:t>
            </a:r>
          </a:p>
          <a:p>
            <a:pPr marL="0" marR="0" lvl="0" indent="0" algn="l" defTabSz="914415" rtl="0" eaLnBrk="1" fontAlgn="auto" latinLnBrk="0" hangingPunct="1">
              <a:lnSpc>
                <a:spcPct val="100000"/>
              </a:lnSpc>
              <a:spcBef>
                <a:spcPts val="1200"/>
              </a:spcBef>
              <a:spcAft>
                <a:spcPts val="600"/>
              </a:spcAft>
              <a:buClrTx/>
              <a:buSzTx/>
              <a:buFont typeface="+mj-lt"/>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415"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415"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 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dato og sidefo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lle slides</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indtast evt. tekst i sidefo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p:txBody>
      </p:sp>
      <p:sp>
        <p:nvSpPr>
          <p:cNvPr id="9" name="Fast overskrift"/>
          <p:cNvSpPr txBox="1"/>
          <p:nvPr userDrawn="1"/>
        </p:nvSpPr>
        <p:spPr>
          <a:xfrm>
            <a:off x="801897" y="869068"/>
            <a:ext cx="10641540" cy="650171"/>
          </a:xfrm>
          <a:prstGeom prst="rect">
            <a:avLst/>
          </a:prstGeom>
          <a:noFill/>
        </p:spPr>
        <p:txBody>
          <a:bodyPr wrap="square" lIns="0" tIns="0" rIns="0" bIns="0" rtlCol="0" anchor="t"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801897" y="1527329"/>
            <a:ext cx="2908881"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slides i venstre side (Ctrl+A)</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 over</a:t>
            </a:r>
          </a:p>
          <a:p>
            <a:pPr marL="0" marR="0" lvl="0" indent="0" algn="l" defTabSz="914415"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slides</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skema på alle slide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lse af mærk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lide 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øverste layout</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 på første layout og fang den hvide boks. 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strukturfyld</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sp>
        <p:nvSpPr>
          <p:cNvPr id="23" name="Text Box 2"/>
          <p:cNvSpPr txBox="1">
            <a:spLocks noChangeArrowheads="1"/>
          </p:cNvSpPr>
          <p:nvPr userDrawn="1"/>
        </p:nvSpPr>
        <p:spPr bwMode="auto">
          <a:xfrm>
            <a:off x="5204043" y="1527330"/>
            <a:ext cx="2340301" cy="4847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tartsid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Dias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un</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ides fra den valgte myndighed, ellers vises forkert logo</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hold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du trækk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 billedets hjørner</a:t>
            </a:r>
          </a:p>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indsætter et nyt, kan billedet lægge sig foran tekst og grafik. Hvis dette sker, højreklik på billed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B15DE49A-D706-49C7-8B9D-C6E0D0CEAE3C}"/>
              </a:ext>
            </a:extLst>
          </p:cNvPr>
          <p:cNvPicPr>
            <a:picLocks noChangeAspect="1"/>
          </p:cNvPicPr>
          <p:nvPr userDrawn="1"/>
        </p:nvPicPr>
        <p:blipFill>
          <a:blip r:embed="rId2"/>
          <a:stretch>
            <a:fillRect/>
          </a:stretch>
        </p:blipFill>
        <p:spPr>
          <a:xfrm>
            <a:off x="11036816" y="2331699"/>
            <a:ext cx="333420" cy="219048"/>
          </a:xfrm>
          <a:prstGeom prst="rect">
            <a:avLst/>
          </a:prstGeom>
        </p:spPr>
      </p:pic>
      <p:pic>
        <p:nvPicPr>
          <p:cNvPr id="28" name="1 Forøg formindsk">
            <a:extLst>
              <a:ext uri="{FF2B5EF4-FFF2-40B4-BE49-F238E27FC236}">
                <a16:creationId xmlns:a16="http://schemas.microsoft.com/office/drawing/2014/main" id="{CEB69AE5-687E-419D-A55F-E487AC302497}"/>
              </a:ext>
            </a:extLst>
          </p:cNvPr>
          <p:cNvPicPr>
            <a:picLocks noChangeAspect="1"/>
          </p:cNvPicPr>
          <p:nvPr userDrawn="1"/>
        </p:nvPicPr>
        <p:blipFill>
          <a:blip r:embed="rId3"/>
          <a:stretch>
            <a:fillRect/>
          </a:stretch>
        </p:blipFill>
        <p:spPr>
          <a:xfrm>
            <a:off x="10893965" y="2726281"/>
            <a:ext cx="549471" cy="285228"/>
          </a:xfrm>
          <a:prstGeom prst="rect">
            <a:avLst/>
          </a:prstGeom>
        </p:spPr>
      </p:pic>
      <p:pic>
        <p:nvPicPr>
          <p:cNvPr id="29" name="2 Ny slide">
            <a:extLst>
              <a:ext uri="{FF2B5EF4-FFF2-40B4-BE49-F238E27FC236}">
                <a16:creationId xmlns:a16="http://schemas.microsoft.com/office/drawing/2014/main" id="{15FEBEC5-3544-4D6D-BEE7-FF3B1F66C583}"/>
              </a:ext>
            </a:extLst>
          </p:cNvPr>
          <p:cNvPicPr>
            <a:picLocks noChangeAspect="1"/>
          </p:cNvPicPr>
          <p:nvPr userDrawn="1"/>
        </p:nvPicPr>
        <p:blipFill rotWithShape="1">
          <a:blip r:embed="rId4"/>
          <a:srcRect l="2931" r="60888"/>
          <a:stretch/>
        </p:blipFill>
        <p:spPr>
          <a:xfrm>
            <a:off x="7424180" y="1729552"/>
            <a:ext cx="363808" cy="647461"/>
          </a:xfrm>
          <a:prstGeom prst="rect">
            <a:avLst/>
          </a:prstGeom>
        </p:spPr>
      </p:pic>
      <p:pic>
        <p:nvPicPr>
          <p:cNvPr id="36" name="3 Layout">
            <a:extLst>
              <a:ext uri="{FF2B5EF4-FFF2-40B4-BE49-F238E27FC236}">
                <a16:creationId xmlns:a16="http://schemas.microsoft.com/office/drawing/2014/main" id="{6FF1287C-BF9A-43AF-BCD0-BAEDCF6A3E4F}"/>
              </a:ext>
            </a:extLst>
          </p:cNvPr>
          <p:cNvPicPr>
            <a:picLocks noChangeAspect="1"/>
          </p:cNvPicPr>
          <p:nvPr userDrawn="1"/>
        </p:nvPicPr>
        <p:blipFill rotWithShape="1">
          <a:blip r:embed="rId4"/>
          <a:srcRect l="36944" r="2272" b="69429"/>
          <a:stretch/>
        </p:blipFill>
        <p:spPr>
          <a:xfrm>
            <a:off x="7424179" y="2637673"/>
            <a:ext cx="593523" cy="192211"/>
          </a:xfrm>
          <a:prstGeom prst="rect">
            <a:avLst/>
          </a:prstGeom>
        </p:spPr>
      </p:pic>
      <p:pic>
        <p:nvPicPr>
          <p:cNvPr id="37" name="4 Nulstil">
            <a:extLst>
              <a:ext uri="{FF2B5EF4-FFF2-40B4-BE49-F238E27FC236}">
                <a16:creationId xmlns:a16="http://schemas.microsoft.com/office/drawing/2014/main" id="{A5EF829E-F701-44EF-8539-1321E27FF689}"/>
              </a:ext>
            </a:extLst>
          </p:cNvPr>
          <p:cNvPicPr>
            <a:picLocks noChangeAspect="1"/>
          </p:cNvPicPr>
          <p:nvPr userDrawn="1"/>
        </p:nvPicPr>
        <p:blipFill>
          <a:blip r:embed="rId5"/>
          <a:stretch>
            <a:fillRect/>
          </a:stretch>
        </p:blipFill>
        <p:spPr>
          <a:xfrm>
            <a:off x="10893965" y="3453260"/>
            <a:ext cx="547384" cy="197798"/>
          </a:xfrm>
          <a:prstGeom prst="rect">
            <a:avLst/>
          </a:prstGeom>
        </p:spPr>
      </p:pic>
      <p:pic>
        <p:nvPicPr>
          <p:cNvPr id="38" name="5 Indsæt billede">
            <a:extLst>
              <a:ext uri="{FF2B5EF4-FFF2-40B4-BE49-F238E27FC236}">
                <a16:creationId xmlns:a16="http://schemas.microsoft.com/office/drawing/2014/main" id="{3D3C226B-A300-4773-A813-316D83446DEB}"/>
              </a:ext>
            </a:extLst>
          </p:cNvPr>
          <p:cNvPicPr>
            <a:picLocks noChangeAspect="1"/>
          </p:cNvPicPr>
          <p:nvPr userDrawn="1"/>
        </p:nvPicPr>
        <p:blipFill>
          <a:blip r:embed="rId6"/>
          <a:stretch>
            <a:fillRect/>
          </a:stretch>
        </p:blipFill>
        <p:spPr>
          <a:xfrm>
            <a:off x="7422382" y="4215765"/>
            <a:ext cx="262219" cy="256054"/>
          </a:xfrm>
          <a:prstGeom prst="rect">
            <a:avLst/>
          </a:prstGeom>
        </p:spPr>
      </p:pic>
      <p:pic>
        <p:nvPicPr>
          <p:cNvPr id="39" name="6 Beskær">
            <a:extLst>
              <a:ext uri="{FF2B5EF4-FFF2-40B4-BE49-F238E27FC236}">
                <a16:creationId xmlns:a16="http://schemas.microsoft.com/office/drawing/2014/main" id="{F5EB7714-1BAF-4615-8F42-CE312EE7628F}"/>
              </a:ext>
            </a:extLst>
          </p:cNvPr>
          <p:cNvPicPr>
            <a:picLocks noChangeAspect="1"/>
          </p:cNvPicPr>
          <p:nvPr userDrawn="1"/>
        </p:nvPicPr>
        <p:blipFill>
          <a:blip r:embed="rId7"/>
          <a:stretch>
            <a:fillRect/>
          </a:stretch>
        </p:blipFill>
        <p:spPr>
          <a:xfrm>
            <a:off x="7418629" y="4891539"/>
            <a:ext cx="337488" cy="321707"/>
          </a:xfrm>
          <a:prstGeom prst="rect">
            <a:avLst/>
          </a:prstGeom>
        </p:spPr>
      </p:pic>
      <p:pic>
        <p:nvPicPr>
          <p:cNvPr id="40" name="7 Skalér billede">
            <a:extLst>
              <a:ext uri="{FF2B5EF4-FFF2-40B4-BE49-F238E27FC236}">
                <a16:creationId xmlns:a16="http://schemas.microsoft.com/office/drawing/2014/main" id="{90E44E96-15EC-4173-BC67-080D7205EA5D}"/>
              </a:ext>
            </a:extLst>
          </p:cNvPr>
          <p:cNvPicPr>
            <a:picLocks noChangeAspect="1"/>
          </p:cNvPicPr>
          <p:nvPr userDrawn="1"/>
        </p:nvPicPr>
        <p:blipFill>
          <a:blip r:embed="rId8"/>
          <a:stretch>
            <a:fillRect/>
          </a:stretch>
        </p:blipFill>
        <p:spPr>
          <a:xfrm>
            <a:off x="7464216" y="5300090"/>
            <a:ext cx="359789" cy="335309"/>
          </a:xfrm>
          <a:prstGeom prst="rect">
            <a:avLst/>
          </a:prstGeom>
        </p:spPr>
      </p:pic>
      <p:pic>
        <p:nvPicPr>
          <p:cNvPr id="8" name="Billede 7">
            <a:extLst>
              <a:ext uri="{FF2B5EF4-FFF2-40B4-BE49-F238E27FC236}">
                <a16:creationId xmlns:a16="http://schemas.microsoft.com/office/drawing/2014/main" id="{0FAE27C5-4052-440E-8FA4-A98456A0F42B}"/>
              </a:ext>
            </a:extLst>
          </p:cNvPr>
          <p:cNvPicPr>
            <a:picLocks noChangeAspect="1"/>
          </p:cNvPicPr>
          <p:nvPr userDrawn="1"/>
        </p:nvPicPr>
        <p:blipFill>
          <a:blip r:embed="rId9"/>
          <a:stretch>
            <a:fillRect/>
          </a:stretch>
        </p:blipFill>
        <p:spPr>
          <a:xfrm>
            <a:off x="2902798" y="2867098"/>
            <a:ext cx="1188953" cy="496311"/>
          </a:xfrm>
          <a:prstGeom prst="rect">
            <a:avLst/>
          </a:prstGeom>
        </p:spPr>
      </p:pic>
      <p:pic>
        <p:nvPicPr>
          <p:cNvPr id="12" name="Billede 11">
            <a:extLst>
              <a:ext uri="{FF2B5EF4-FFF2-40B4-BE49-F238E27FC236}">
                <a16:creationId xmlns:a16="http://schemas.microsoft.com/office/drawing/2014/main" id="{7578D16D-11CB-45D8-BBA9-97BDA3E71BF2}"/>
              </a:ext>
            </a:extLst>
          </p:cNvPr>
          <p:cNvPicPr>
            <a:picLocks noChangeAspect="1"/>
          </p:cNvPicPr>
          <p:nvPr userDrawn="1"/>
        </p:nvPicPr>
        <p:blipFill rotWithShape="1">
          <a:blip r:embed="rId10"/>
          <a:srcRect b="46720"/>
          <a:stretch/>
        </p:blipFill>
        <p:spPr>
          <a:xfrm>
            <a:off x="3754195" y="3570200"/>
            <a:ext cx="893461" cy="627651"/>
          </a:xfrm>
          <a:prstGeom prst="rect">
            <a:avLst/>
          </a:prstGeom>
        </p:spPr>
      </p:pic>
      <p:sp>
        <p:nvSpPr>
          <p:cNvPr id="13" name="Rektangel 12">
            <a:extLst>
              <a:ext uri="{FF2B5EF4-FFF2-40B4-BE49-F238E27FC236}">
                <a16:creationId xmlns:a16="http://schemas.microsoft.com/office/drawing/2014/main" id="{82D1FADE-DAFE-478C-930A-6DBB9BAC37F0}"/>
              </a:ext>
            </a:extLst>
          </p:cNvPr>
          <p:cNvSpPr/>
          <p:nvPr userDrawn="1"/>
        </p:nvSpPr>
        <p:spPr>
          <a:xfrm>
            <a:off x="3711509" y="3551931"/>
            <a:ext cx="990263"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14" name="Billede 13">
            <a:extLst>
              <a:ext uri="{FF2B5EF4-FFF2-40B4-BE49-F238E27FC236}">
                <a16:creationId xmlns:a16="http://schemas.microsoft.com/office/drawing/2014/main" id="{A0F8AFD2-A688-44B9-964A-D90D804E5692}"/>
              </a:ext>
            </a:extLst>
          </p:cNvPr>
          <p:cNvPicPr>
            <a:picLocks noChangeAspect="1"/>
          </p:cNvPicPr>
          <p:nvPr userDrawn="1"/>
        </p:nvPicPr>
        <p:blipFill rotWithShape="1">
          <a:blip r:embed="rId11"/>
          <a:srcRect l="14162" t="-10959" b="-1"/>
          <a:stretch/>
        </p:blipFill>
        <p:spPr>
          <a:xfrm>
            <a:off x="3608738" y="4263734"/>
            <a:ext cx="1134764" cy="494511"/>
          </a:xfrm>
          <a:prstGeom prst="rect">
            <a:avLst/>
          </a:prstGeom>
        </p:spPr>
      </p:pic>
      <p:sp>
        <p:nvSpPr>
          <p:cNvPr id="33" name="Rektangel 32">
            <a:extLst>
              <a:ext uri="{FF2B5EF4-FFF2-40B4-BE49-F238E27FC236}">
                <a16:creationId xmlns:a16="http://schemas.microsoft.com/office/drawing/2014/main" id="{32AE28FE-3DAC-4B7C-877A-CCF99AD7BB33}"/>
              </a:ext>
            </a:extLst>
          </p:cNvPr>
          <p:cNvSpPr/>
          <p:nvPr userDrawn="1"/>
        </p:nvSpPr>
        <p:spPr>
          <a:xfrm>
            <a:off x="4091751" y="4263734"/>
            <a:ext cx="472859"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24" name="Logo">
            <a:extLst>
              <a:ext uri="{FF2B5EF4-FFF2-40B4-BE49-F238E27FC236}">
                <a16:creationId xmlns:a16="http://schemas.microsoft.com/office/drawing/2014/main" id="{F890F6C2-7553-4B53-9A72-EC01290DF87A}"/>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pic>
        <p:nvPicPr>
          <p:cNvPr id="45" name="Billede 44">
            <a:extLst>
              <a:ext uri="{FF2B5EF4-FFF2-40B4-BE49-F238E27FC236}">
                <a16:creationId xmlns:a16="http://schemas.microsoft.com/office/drawing/2014/main" id="{2A639B25-3B69-4C9B-8AD3-D8FD1B4943CF}"/>
              </a:ext>
            </a:extLst>
          </p:cNvPr>
          <p:cNvPicPr>
            <a:picLocks noChangeAspect="1"/>
          </p:cNvPicPr>
          <p:nvPr userDrawn="1"/>
        </p:nvPicPr>
        <p:blipFill>
          <a:blip r:embed="rId13"/>
          <a:stretch>
            <a:fillRect/>
          </a:stretch>
        </p:blipFill>
        <p:spPr>
          <a:xfrm>
            <a:off x="801898" y="2378920"/>
            <a:ext cx="3453998" cy="231308"/>
          </a:xfrm>
          <a:prstGeom prst="rect">
            <a:avLst/>
          </a:prstGeom>
        </p:spPr>
      </p:pic>
      <p:pic>
        <p:nvPicPr>
          <p:cNvPr id="46" name="Billede 24">
            <a:extLst>
              <a:ext uri="{FF2B5EF4-FFF2-40B4-BE49-F238E27FC236}">
                <a16:creationId xmlns:a16="http://schemas.microsoft.com/office/drawing/2014/main" id="{BC7185AD-12A6-4D53-BFE6-D7774FD58B2D}"/>
              </a:ext>
            </a:extLst>
          </p:cNvPr>
          <p:cNvPicPr>
            <a:picLocks noChangeAspect="1"/>
          </p:cNvPicPr>
          <p:nvPr userDrawn="1"/>
        </p:nvPicPr>
        <p:blipFill>
          <a:blip r:embed="rId14"/>
          <a:stretch>
            <a:fillRect/>
          </a:stretch>
        </p:blipFill>
        <p:spPr>
          <a:xfrm>
            <a:off x="3646907" y="1969713"/>
            <a:ext cx="444844" cy="236711"/>
          </a:xfrm>
          <a:prstGeom prst="rect">
            <a:avLst/>
          </a:prstGeom>
        </p:spPr>
      </p:pic>
      <p:sp>
        <p:nvSpPr>
          <p:cNvPr id="47" name="Tekstfelt 46">
            <a:extLst>
              <a:ext uri="{FF2B5EF4-FFF2-40B4-BE49-F238E27FC236}">
                <a16:creationId xmlns:a16="http://schemas.microsoft.com/office/drawing/2014/main" id="{D861B624-E28B-4C93-83A6-123355D562BD}"/>
              </a:ext>
            </a:extLst>
          </p:cNvPr>
          <p:cNvSpPr txBox="1"/>
          <p:nvPr userDrawn="1"/>
        </p:nvSpPr>
        <p:spPr>
          <a:xfrm>
            <a:off x="828594" y="2594322"/>
            <a:ext cx="3446631" cy="115416"/>
          </a:xfrm>
          <a:prstGeom prst="rect">
            <a:avLst/>
          </a:prstGeom>
          <a:noFill/>
        </p:spPr>
        <p:txBody>
          <a:bodyPr wrap="square" lIns="0" tIns="0" rIns="0" bIns="0" rtlCol="0">
            <a:spAutoFit/>
          </a:bodyPr>
          <a:lstStyle/>
          <a:p>
            <a:pPr>
              <a:lnSpc>
                <a:spcPct val="125000"/>
              </a:lnSpc>
              <a:tabLst>
                <a:tab pos="374650" algn="l"/>
                <a:tab pos="762000" algn="l"/>
                <a:tab pos="1141413" algn="l"/>
                <a:tab pos="1524000" algn="l"/>
                <a:tab pos="1911350" algn="l"/>
                <a:tab pos="2293938" algn="l"/>
                <a:tab pos="2676525" algn="l"/>
                <a:tab pos="3059113" algn="l"/>
              </a:tabLst>
            </a:pPr>
            <a:r>
              <a:rPr lang="da-DK" sz="600" dirty="0"/>
              <a:t>FMN	FMI	FPS	FES	FRS	FSV	BRS	HJV	FAUK</a:t>
            </a:r>
          </a:p>
        </p:txBody>
      </p:sp>
    </p:spTree>
    <p:extLst>
      <p:ext uri="{BB962C8B-B14F-4D97-AF65-F5344CB8AC3E}">
        <p14:creationId xmlns:p14="http://schemas.microsoft.com/office/powerpoint/2010/main" val="19003159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5110301B-3B31-4B56-9E1F-832A10663A8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2" name="Title 1"/>
          <p:cNvSpPr>
            <a:spLocks noGrp="1"/>
          </p:cNvSpPr>
          <p:nvPr>
            <p:ph type="ctrTitle" hasCustomPrompt="1"/>
          </p:nvPr>
        </p:nvSpPr>
        <p:spPr>
          <a:xfrm>
            <a:off x="784490" y="3701880"/>
            <a:ext cx="5294103" cy="1161600"/>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7" y="4983982"/>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E558046F-5E7B-4A71-AFB2-11F01DC984B5}"/>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8235989-6762-4643-ADA7-7005D9423B90}"/>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A8DB971-E5E2-4E82-A12E-139EED6B92EF}"/>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07AA1EBD-B06C-423F-B538-CB805F73589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D4464FB6-1490-4B85-BBB8-63428B1B327C}"/>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F800B52-2A35-4FFC-9C8B-76F363266A6C}"/>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r>
              <a:rPr lang="da-DK" dirty="0"/>
              <a:t>LRGN W ORA 30.marts 2022</a:t>
            </a: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38449613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9FF860F-A545-4DC6-BF34-8D4703B61D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0" y="1928817"/>
            <a:ext cx="105977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2"/>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4BD3AA7C-8B55-44CA-8D08-186F00A7103D}"/>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EDABA1A0-E959-4CA9-BAE8-C690EC7FFB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0ABD11A8-EF76-4789-85FF-FEBBDF1E0663}"/>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123508D-BC89-4677-B65F-929D9A828E8F}"/>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15DD55F3-CBAD-4620-86CE-92FB3BC996AB}"/>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803B857-39A5-4FEE-B366-F7C954DFCE94}"/>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r>
              <a:rPr lang="da-DK" dirty="0"/>
              <a:t>LRGN W ORA 30.marts 2022</a:t>
            </a: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23513185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0612CFF6-5028-44F6-976B-BC2633367D5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F12A8DD0-75A4-4B0E-844E-019FDF4F0D9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B6D74E47-60F1-43B5-9AD9-7694C305353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D8B4CAC5-CA9A-4E04-88EE-1A57ACD12B6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C9415BA-2B16-481B-BEDD-523C8C3D0131}"/>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1DC2F2F2-6981-4BBA-BD92-550491AA8F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r>
              <a:rPr lang="da-DK" dirty="0"/>
              <a:t>LRGN W ORA 30.marts 2022</a:t>
            </a:r>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BC2138B7-E8A4-495D-B720-02796C51E0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078640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34" y="1150631"/>
            <a:ext cx="4828117" cy="720000"/>
          </a:xfrm>
        </p:spPr>
        <p:txBody>
          <a:bodyPr>
            <a:normAutofit/>
          </a:bodyPr>
          <a:lstStyle>
            <a:lvl1pPr>
              <a:lnSpc>
                <a:spcPct val="108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51" y="2075388"/>
            <a:ext cx="4828116" cy="1402111"/>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33"/>
            <a:ext cx="561763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96000" y="3679200"/>
            <a:ext cx="5617632"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1007550"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5178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9" name="Tjenestebrug">
            <a:extLst>
              <a:ext uri="{FF2B5EF4-FFF2-40B4-BE49-F238E27FC236}">
                <a16:creationId xmlns:a16="http://schemas.microsoft.com/office/drawing/2014/main" id="{F6E774BD-665C-40A5-9BF7-CD20C74F193E}"/>
              </a:ext>
            </a:extLst>
          </p:cNvPr>
          <p:cNvSpPr>
            <a:spLocks noGrp="1"/>
          </p:cNvSpPr>
          <p:nvPr>
            <p:ph type="body" sz="quarter" idx="18"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B86325BD-FC5F-4D48-8923-87AADE8167EA}"/>
              </a:ext>
            </a:extLst>
          </p:cNvPr>
          <p:cNvSpPr>
            <a:spLocks noGrp="1"/>
          </p:cNvSpPr>
          <p:nvPr>
            <p:ph type="body" sz="quarter" idx="19"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2" name="Tjenestebrug">
            <a:extLst>
              <a:ext uri="{FF2B5EF4-FFF2-40B4-BE49-F238E27FC236}">
                <a16:creationId xmlns:a16="http://schemas.microsoft.com/office/drawing/2014/main" id="{CB3639F6-78E7-49A7-B375-DCDCCF3BB7F2}"/>
              </a:ext>
            </a:extLst>
          </p:cNvPr>
          <p:cNvSpPr>
            <a:spLocks noGrp="1"/>
          </p:cNvSpPr>
          <p:nvPr>
            <p:ph type="body" sz="quarter" idx="21" hasCustomPrompt="1"/>
          </p:nvPr>
        </p:nvSpPr>
        <p:spPr>
          <a:xfrm>
            <a:off x="4173065" y="649237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3" name="Afklassificeret">
            <a:extLst>
              <a:ext uri="{FF2B5EF4-FFF2-40B4-BE49-F238E27FC236}">
                <a16:creationId xmlns:a16="http://schemas.microsoft.com/office/drawing/2014/main" id="{24BEEBE3-21E5-46D7-ACF3-0E53118F575E}"/>
              </a:ext>
            </a:extLst>
          </p:cNvPr>
          <p:cNvSpPr>
            <a:spLocks noGrp="1"/>
          </p:cNvSpPr>
          <p:nvPr>
            <p:ph type="body" sz="quarter" idx="22" hasCustomPrompt="1"/>
          </p:nvPr>
        </p:nvSpPr>
        <p:spPr>
          <a:xfrm>
            <a:off x="4173084" y="665012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pic>
        <p:nvPicPr>
          <p:cNvPr id="25" name="Picture 3"/>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5409" y="74230"/>
            <a:ext cx="2035728" cy="55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Billed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9" name="Pladsholder til dato 14"/>
          <p:cNvSpPr>
            <a:spLocks noGrp="1"/>
          </p:cNvSpPr>
          <p:nvPr>
            <p:ph type="dt" sz="half" idx="25"/>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30"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31" name="Pladsholder til tekst 2"/>
          <p:cNvSpPr>
            <a:spLocks noGrp="1"/>
          </p:cNvSpPr>
          <p:nvPr>
            <p:ph type="body" sz="quarter" idx="26"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32" name="Pladsholder til tekst 2"/>
          <p:cNvSpPr>
            <a:spLocks noGrp="1"/>
          </p:cNvSpPr>
          <p:nvPr>
            <p:ph type="body" sz="quarter" idx="27"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21"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130862536"/>
      </p:ext>
    </p:extLst>
  </p:cSld>
  <p:clrMapOvr>
    <a:masterClrMapping/>
  </p:clrMapOvr>
  <p:extLst>
    <p:ext uri="{DCECCB84-F9BA-43D5-87BE-67443E8EF086}">
      <p15:sldGuideLst xmlns:p15="http://schemas.microsoft.com/office/powerpoint/2012/main">
        <p15:guide id="1" pos="2880">
          <p15:clr>
            <a:srgbClr val="000000"/>
          </p15:clr>
        </p15:guide>
        <p15:guide id="2" pos="2757">
          <p15:clr>
            <a:srgbClr val="000000"/>
          </p15:clr>
        </p15:guide>
        <p15:guide id="3" pos="1555">
          <p15:clr>
            <a:srgbClr val="000000"/>
          </p15:clr>
        </p15:guide>
        <p15:guide id="4" pos="1678">
          <p15:clr>
            <a:srgbClr val="00000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4" y="1152001"/>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1"/>
            <a:ext cx="758512"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9" y="1925482"/>
            <a:ext cx="1630015"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6" y="1925482"/>
            <a:ext cx="5421137"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37A07B4A-3944-49E7-A4E5-44887765CA4B}"/>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F15DA75A-63B3-4138-A7CD-B876398305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51D715B-E99C-4D87-9E19-ECE57865FB35}"/>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1C0146A7-354A-4D5C-9E12-470665487CA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BF380BEC-F9E4-44FD-BE37-4CE98C69BBB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9369818-45E9-48FB-B30B-C4F3BE518C6A}"/>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r>
              <a:rPr lang="da-DK" dirty="0"/>
              <a:t>LRGN W ORA 30.marts 2022</a:t>
            </a:r>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6" y="6319767"/>
            <a:ext cx="45731"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0FF15FFF-5349-4A6E-9284-71056EFBB0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2528318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5" y="1152001"/>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4"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5" y="5454664"/>
            <a:ext cx="10593959"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F3D6C4D7-2182-4D2E-98E7-17C54D911F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23928120-F7AD-4132-B2D1-885537200377}"/>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B371D97-D4DB-46B4-8D78-9B05B3ED1EC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2F5B903-D8AA-4473-AD0F-237D3B3B8B1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88789C0D-CC71-41BE-9C10-0DE1D4BC48B0}"/>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5E91C6A-48DB-404A-9963-E3363BD8E67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r>
              <a:rPr lang="da-DK" dirty="0"/>
              <a:t>LRGN W ORA 30.marts 2022</a:t>
            </a: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89C4CBF-111F-4EEF-A16E-C5CC093A4E8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2971457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5" y="2075383"/>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1" y="1150634"/>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6A8EBF36-AD3D-4B28-95DD-8939EA379A20}"/>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B1FB3350-BF67-4DA5-AFEA-BE4C1CDD9C4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93A96B2-009D-4F7A-8B06-2A1E3ED8870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141C9443-BA4F-49A8-BCBC-4970459A3022}"/>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B00D538-4C54-41A4-9B68-1DF3FD1EC57E}"/>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488013D-A966-4713-90CC-A37DFE03B8F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r>
              <a:rPr lang="da-DK" dirty="0"/>
              <a:t>LRGN W ORA 30.marts 2022</a:t>
            </a: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6A2122B-2FCD-4205-96C0-18616546D0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415282339"/>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5383"/>
            <a:ext cx="5033754"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1"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AAC6E81A-7D70-4FEA-ACE9-06ADBF7D4632}"/>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50BEB9C-150C-4318-AB1C-ECB7AD1B834E}"/>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476D5BF2-5E9B-47D8-A511-355E03129BA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ECC22FB5-7706-4B22-9D8F-130422D7802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F16197A-4969-40C1-9FF4-BA90D93AE616}"/>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C97C2E3F-C178-460F-9211-EE15E734A9F1}"/>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r>
              <a:rPr lang="da-DK" dirty="0"/>
              <a:t>LRGN W ORA 30.marts 2022</a:t>
            </a: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2B690131-8682-4F8C-8B22-DDB9CBBC2AA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3013233503"/>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7200"/>
            <a:ext cx="5033222"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4"/>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6"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012B17DA-CFE1-4F96-8ACC-65C2A80967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86A6329-B153-47C0-A6B7-88CFD2F8151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FF9580EF-7326-4577-A1C8-30703DBAE92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1540157-CAD4-45BB-A494-D642ADCEB96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B378486-A6C7-42D6-8B03-78E8EF0F7C2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09F1F8A-D9FD-4423-8697-0137EF115DC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r>
              <a:rPr lang="da-DK" dirty="0"/>
              <a:t>LRGN W ORA 30.marts 2022</a:t>
            </a: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762512F1-8192-4B00-9C7F-D2B2A3315B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359062615"/>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5" y="786306"/>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1" y="3666199"/>
            <a:ext cx="2524782"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A89810C5-A12C-4C0B-AB0F-E370E16A136A}"/>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D2F25F0-9D7E-4A0D-A297-72D04E7AFB8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AAAD6BAE-EEF8-4BA1-BD7F-603960C97339}"/>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CFDEAE3-8EFE-4991-976C-6E7B53501B8E}"/>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5CDA0B1-D595-4DDC-8784-FC04056BF99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F9AC1B8-B44F-432B-940B-ED7C8C9C8FF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r>
              <a:rPr lang="da-DK" dirty="0"/>
              <a:t>LRGN W ORA 30.marts 2022</a:t>
            </a: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29DDD414-473A-40C6-8D71-09F4132F9B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20432419"/>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5"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539C7357-0763-4F5F-852E-C79662098CD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E1677E23-0BCB-4B43-9EC7-F6A8C55CDE1C}"/>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9A8BE360-1F51-4886-B516-2C9E248B063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306F40D9-E883-4591-9BB2-53B2FB8DDE4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72E18CC4-CBE6-4917-835D-E39EF908B2B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1C4ADBE0-2FC6-4901-83F1-F6F6C5424E0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r>
              <a:rPr lang="da-DK" dirty="0"/>
              <a:t>LRGN W ORA 30.marts 2022</a:t>
            </a: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B9536424-6059-4015-A641-91AE1D93A39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4250886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D52E9B85-AD1B-4BF4-B785-EE449AB2D3E4}"/>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2363F0E7-1401-4D46-B61E-04B2A57927F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EB6F3F16-8CA5-44C3-86CB-22D23EF7E1DA}"/>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C500833E-1F69-4708-A593-65CDD0514FC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C403A39A-5C2C-478B-A633-4C3BF256DD6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BB065B0-9068-4F01-A9C2-1C1D8766EE10}"/>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r>
              <a:rPr lang="da-DK" dirty="0"/>
              <a:t>LRGN W ORA 30.marts 2022</a:t>
            </a: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BA0295FC-1F3A-4FE5-A226-522EEF4310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8291049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0"/>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4"/>
            <a:ext cx="288000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A341E85D-A666-4A4C-8890-D74D58046B1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1A0D38EB-5C11-48F2-8A6C-60A10B7F075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D98296BF-84B9-4F48-B0CD-AD253331071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ED37C21B-F4CF-40C9-9395-43DEEF372B73}"/>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772CFEF8-8F57-4ED9-812C-1580BCFF95E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82A36E98-8BE9-4D59-B6B7-D7964BE3D6DB}"/>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r>
              <a:rPr lang="da-DK" dirty="0"/>
              <a:t>LRGN W ORA 30.marts 2022</a:t>
            </a: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17" name="LogoEnd">
            <a:extLst>
              <a:ext uri="{FF2B5EF4-FFF2-40B4-BE49-F238E27FC236}">
                <a16:creationId xmlns:a16="http://schemas.microsoft.com/office/drawing/2014/main" id="{D938A296-E57A-445D-ADDF-941A5DFB3C5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7548" y="4653650"/>
            <a:ext cx="3506953" cy="553826"/>
          </a:xfrm>
          <a:prstGeom prst="rect">
            <a:avLst/>
          </a:prstGeom>
        </p:spPr>
      </p:pic>
    </p:spTree>
    <p:extLst>
      <p:ext uri="{BB962C8B-B14F-4D97-AF65-F5344CB8AC3E}">
        <p14:creationId xmlns:p14="http://schemas.microsoft.com/office/powerpoint/2010/main" val="7526376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r>
              <a:rPr lang="da-DK" dirty="0"/>
              <a:t>LRGN W ORA 30.marts 2022</a:t>
            </a:r>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4" name="Logo">
            <a:extLst>
              <a:ext uri="{FF2B5EF4-FFF2-40B4-BE49-F238E27FC236}">
                <a16:creationId xmlns:a16="http://schemas.microsoft.com/office/drawing/2014/main" id="{E69CF967-9CAF-418A-BF04-B77515C7A84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
        <p:nvSpPr>
          <p:cNvPr id="26" name="Fast overskrift">
            <a:extLst>
              <a:ext uri="{FF2B5EF4-FFF2-40B4-BE49-F238E27FC236}">
                <a16:creationId xmlns:a16="http://schemas.microsoft.com/office/drawing/2014/main" id="{D49FBF11-8559-475C-B380-4DD69C3FD9FB}"/>
              </a:ext>
            </a:extLst>
          </p:cNvPr>
          <p:cNvSpPr txBox="1"/>
          <p:nvPr userDrawn="1"/>
        </p:nvSpPr>
        <p:spPr>
          <a:xfrm>
            <a:off x="801897" y="869068"/>
            <a:ext cx="10641540" cy="650171"/>
          </a:xfrm>
          <a:prstGeom prst="rect">
            <a:avLst/>
          </a:prstGeom>
          <a:noFill/>
        </p:spPr>
        <p:txBody>
          <a:bodyPr wrap="square" lIns="0" tIns="0" rIns="0" bIns="0" rtlCol="0" anchor="t"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44B0772F-D514-483B-B717-FBFFEB875B26}"/>
              </a:ext>
            </a:extLst>
          </p:cNvPr>
          <p:cNvSpPr txBox="1">
            <a:spLocks noChangeArrowheads="1"/>
          </p:cNvSpPr>
          <p:nvPr userDrawn="1"/>
        </p:nvSpPr>
        <p:spPr bwMode="auto">
          <a:xfrm>
            <a:off x="801897" y="1762720"/>
            <a:ext cx="2945573"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er kan vi skrive noget mere</a:t>
            </a:r>
          </a:p>
        </p:txBody>
      </p:sp>
      <p:pic>
        <p:nvPicPr>
          <p:cNvPr id="45" name="Picture 44">
            <a:extLst>
              <a:ext uri="{FF2B5EF4-FFF2-40B4-BE49-F238E27FC236}">
                <a16:creationId xmlns:a16="http://schemas.microsoft.com/office/drawing/2014/main" id="{AE6C4B29-18A4-42FA-9614-72FBECCB180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45190" y="2284374"/>
            <a:ext cx="489935" cy="187279"/>
          </a:xfrm>
          <a:prstGeom prst="rect">
            <a:avLst/>
          </a:prstGeom>
        </p:spPr>
      </p:pic>
      <p:grpSp>
        <p:nvGrpSpPr>
          <p:cNvPr id="46" name="Group 45">
            <a:extLst>
              <a:ext uri="{FF2B5EF4-FFF2-40B4-BE49-F238E27FC236}">
                <a16:creationId xmlns:a16="http://schemas.microsoft.com/office/drawing/2014/main" id="{09876479-5C12-456C-97BC-D4A3603EBDD0}"/>
              </a:ext>
            </a:extLst>
          </p:cNvPr>
          <p:cNvGrpSpPr/>
          <p:nvPr userDrawn="1"/>
        </p:nvGrpSpPr>
        <p:grpSpPr>
          <a:xfrm>
            <a:off x="2980317" y="3510088"/>
            <a:ext cx="1127296" cy="296229"/>
            <a:chOff x="3102472" y="2807695"/>
            <a:chExt cx="1127002" cy="296229"/>
          </a:xfrm>
        </p:grpSpPr>
        <p:pic>
          <p:nvPicPr>
            <p:cNvPr id="47" name="Picture 46">
              <a:extLst>
                <a:ext uri="{FF2B5EF4-FFF2-40B4-BE49-F238E27FC236}">
                  <a16:creationId xmlns:a16="http://schemas.microsoft.com/office/drawing/2014/main" id="{130DDDCC-88FF-4C66-AFB7-3D8A3506FFC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DF5CF461-D479-45D7-BC3C-ECBE2983B565}"/>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GB" sz="1200" noProof="0" dirty="0" err="1"/>
            </a:p>
          </p:txBody>
        </p:sp>
      </p:grpSp>
      <p:grpSp>
        <p:nvGrpSpPr>
          <p:cNvPr id="49" name="Group 48">
            <a:extLst>
              <a:ext uri="{FF2B5EF4-FFF2-40B4-BE49-F238E27FC236}">
                <a16:creationId xmlns:a16="http://schemas.microsoft.com/office/drawing/2014/main" id="{28A5B27E-7D0E-4276-807F-3F37DC90DC79}"/>
              </a:ext>
            </a:extLst>
          </p:cNvPr>
          <p:cNvGrpSpPr/>
          <p:nvPr userDrawn="1"/>
        </p:nvGrpSpPr>
        <p:grpSpPr>
          <a:xfrm>
            <a:off x="785931" y="2890269"/>
            <a:ext cx="3477224" cy="340348"/>
            <a:chOff x="821551" y="2392335"/>
            <a:chExt cx="3476318" cy="340348"/>
          </a:xfrm>
        </p:grpSpPr>
        <p:pic>
          <p:nvPicPr>
            <p:cNvPr id="50" name="Picture 49">
              <a:extLst>
                <a:ext uri="{FF2B5EF4-FFF2-40B4-BE49-F238E27FC236}">
                  <a16:creationId xmlns:a16="http://schemas.microsoft.com/office/drawing/2014/main" id="{DB1ED320-06C5-40A0-BC33-725FB35466E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6D8054D-96C7-4682-AD87-ABCD12D3300F}"/>
                </a:ext>
              </a:extLst>
            </p:cNvPr>
            <p:cNvSpPr txBox="1"/>
            <p:nvPr userDrawn="1"/>
          </p:nvSpPr>
          <p:spPr>
            <a:xfrm>
              <a:off x="852136" y="2617267"/>
              <a:ext cx="3445733" cy="115416"/>
            </a:xfrm>
            <a:prstGeom prst="rect">
              <a:avLst/>
            </a:prstGeom>
            <a:noFill/>
          </p:spPr>
          <p:txBody>
            <a:bodyPr wrap="square" lIns="0" tIns="0" rIns="0" bIns="0" rtlCol="0">
              <a:spAutoFit/>
            </a:bodyPr>
            <a:lstStyle/>
            <a:p>
              <a:pPr>
                <a:lnSpc>
                  <a:spcPct val="125000"/>
                </a:lnSpc>
                <a:tabLst>
                  <a:tab pos="374650" algn="l"/>
                  <a:tab pos="762000" algn="l"/>
                  <a:tab pos="1141413" algn="l"/>
                  <a:tab pos="1524000" algn="l"/>
                  <a:tab pos="1911350" algn="l"/>
                  <a:tab pos="2293938" algn="l"/>
                  <a:tab pos="2676525" algn="l"/>
                  <a:tab pos="3059113" algn="l"/>
                </a:tabLst>
              </a:pPr>
              <a:r>
                <a:rPr lang="da-DK" sz="600" dirty="0"/>
                <a:t>FMN	FKO	HJV	BRS	FMI	FPS	FES	FRS	FAUK</a:t>
              </a:r>
            </a:p>
          </p:txBody>
        </p:sp>
      </p:grpSp>
      <p:grpSp>
        <p:nvGrpSpPr>
          <p:cNvPr id="52" name="Group 51">
            <a:extLst>
              <a:ext uri="{FF2B5EF4-FFF2-40B4-BE49-F238E27FC236}">
                <a16:creationId xmlns:a16="http://schemas.microsoft.com/office/drawing/2014/main" id="{114BFFB9-2356-40E0-A78B-67631BFFC972}"/>
              </a:ext>
            </a:extLst>
          </p:cNvPr>
          <p:cNvGrpSpPr/>
          <p:nvPr userDrawn="1"/>
        </p:nvGrpSpPr>
        <p:grpSpPr>
          <a:xfrm>
            <a:off x="4668854" y="1762720"/>
            <a:ext cx="3665858" cy="2176646"/>
            <a:chOff x="5381233" y="1527329"/>
            <a:chExt cx="3664903" cy="2176646"/>
          </a:xfrm>
        </p:grpSpPr>
        <p:sp>
          <p:nvSpPr>
            <p:cNvPr id="53" name="Text Box 3">
              <a:extLst>
                <a:ext uri="{FF2B5EF4-FFF2-40B4-BE49-F238E27FC236}">
                  <a16:creationId xmlns:a16="http://schemas.microsoft.com/office/drawing/2014/main" id="{F280D371-25C7-48EC-A573-09CACF22297D}"/>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01F97269-9E4F-491F-99CB-B01B6C5A9CE4}"/>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036971A2-86DD-4DD1-BE4F-B291BE7EE4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A03DDA49-F5A0-4455-9E15-93600150D9B9}"/>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grpSp>
          <p:nvGrpSpPr>
            <p:cNvPr id="55" name="Group 54">
              <a:extLst>
                <a:ext uri="{FF2B5EF4-FFF2-40B4-BE49-F238E27FC236}">
                  <a16:creationId xmlns:a16="http://schemas.microsoft.com/office/drawing/2014/main" id="{12DA9BE6-2980-4876-BDD8-38B70336ABD2}"/>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E5D26F40-3C2E-4D3C-B06A-77DE795ED36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9853F4BB-F4D1-406C-864B-AB42778A897D}"/>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pic>
          <p:nvPicPr>
            <p:cNvPr id="56" name="Picture 55">
              <a:extLst>
                <a:ext uri="{FF2B5EF4-FFF2-40B4-BE49-F238E27FC236}">
                  <a16:creationId xmlns:a16="http://schemas.microsoft.com/office/drawing/2014/main" id="{66F55DD3-6F60-4689-8C43-802F50E834FA}"/>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BF3CECA7-6525-4B2A-A938-A4633E6795EC}"/>
              </a:ext>
            </a:extLst>
          </p:cNvPr>
          <p:cNvSpPr txBox="1">
            <a:spLocks noChangeArrowheads="1"/>
          </p:cNvSpPr>
          <p:nvPr userDrawn="1"/>
        </p:nvSpPr>
        <p:spPr bwMode="auto">
          <a:xfrm>
            <a:off x="4668853" y="4085834"/>
            <a:ext cx="3698736"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nSpc>
                <a:spcPct val="125000"/>
              </a:lnSpc>
              <a:spcAft>
                <a:spcPts val="600"/>
              </a:spcAft>
            </a:pPr>
            <a:r>
              <a:rPr lang="da-DK" sz="900" b="1" i="0" kern="1200" dirty="0">
                <a:solidFill>
                  <a:schemeClr val="tx1"/>
                </a:solidFill>
                <a:effectLst/>
                <a:latin typeface="Arial" panose="020B0604020202020204" pitchFamily="34" charset="0"/>
                <a:ea typeface="+mn-ea"/>
                <a:cs typeface="Arial" panose="020B0604020202020204" pitchFamily="34" charset="0"/>
              </a:rPr>
              <a:t>Hvis mærket bliver meget lille</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lang="en-GB" sz="900" i="0" dirty="0" err="1">
              <a:latin typeface="Arial" panose="020B0604020202020204" pitchFamily="34" charset="0"/>
              <a:cs typeface="Arial" panose="020B0604020202020204" pitchFamily="34" charset="0"/>
            </a:endParaRPr>
          </a:p>
        </p:txBody>
      </p:sp>
      <p:cxnSp>
        <p:nvCxnSpPr>
          <p:cNvPr id="62" name="Straight Connector 61">
            <a:extLst>
              <a:ext uri="{FF2B5EF4-FFF2-40B4-BE49-F238E27FC236}">
                <a16:creationId xmlns:a16="http://schemas.microsoft.com/office/drawing/2014/main" id="{A5AB1DD3-8D67-40C1-8691-FC593E6BBF6D}"/>
              </a:ext>
            </a:extLst>
          </p:cNvPr>
          <p:cNvCxnSpPr/>
          <p:nvPr userDrawn="1"/>
        </p:nvCxnSpPr>
        <p:spPr>
          <a:xfrm>
            <a:off x="4403748"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FE5AD694-572D-406F-ADEE-10F79246A489}"/>
              </a:ext>
            </a:extLst>
          </p:cNvPr>
          <p:cNvSpPr txBox="1">
            <a:spLocks noChangeArrowheads="1"/>
          </p:cNvSpPr>
          <p:nvPr userDrawn="1"/>
        </p:nvSpPr>
        <p:spPr bwMode="auto">
          <a:xfrm>
            <a:off x="8874943" y="1757533"/>
            <a:ext cx="2945573"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F4D3AE42-95D5-4279-910A-8B0A7F587170}"/>
              </a:ext>
            </a:extLst>
          </p:cNvPr>
          <p:cNvCxnSpPr/>
          <p:nvPr userDrawn="1"/>
        </p:nvCxnSpPr>
        <p:spPr>
          <a:xfrm>
            <a:off x="8604827"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437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p:nvPr>
        </p:nvSpPr>
        <p:spPr>
          <a:xfrm>
            <a:off x="492154" y="914402"/>
            <a:ext cx="11223597" cy="4588779"/>
          </a:xfrm>
        </p:spPr>
        <p:txBody>
          <a:bodyPr rIns="0" anchor="ctr" anchorCtr="0"/>
          <a:lstStyle>
            <a:lvl1pPr marL="0" indent="0" algn="ctr">
              <a:buNone/>
              <a:defRPr/>
            </a:lvl1pPr>
          </a:lstStyle>
          <a:p>
            <a:r>
              <a:rPr lang="da-DK"/>
              <a:t>Klik på ikonet for at tilføje et billede</a:t>
            </a:r>
            <a:endParaRPr lang="da-DK"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007545" y="3753487"/>
            <a:ext cx="3519071" cy="2250447"/>
          </a:xfrm>
          <a:solidFill>
            <a:schemeClr val="accent2"/>
          </a:solidFill>
        </p:spPr>
        <p:txBody>
          <a:bodyPr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0" indent="-180000">
              <a:spcBef>
                <a:spcPts val="1500"/>
              </a:spcBef>
              <a:defRPr sz="1000">
                <a:solidFill>
                  <a:schemeClr val="bg1"/>
                </a:solidFill>
              </a:defRPr>
            </a:lvl3pPr>
            <a:lvl4pPr marL="360000" indent="-180000">
              <a:spcBef>
                <a:spcPts val="1500"/>
              </a:spcBef>
              <a:defRPr sz="1000">
                <a:solidFill>
                  <a:schemeClr val="bg1"/>
                </a:solidFill>
              </a:defRPr>
            </a:lvl4pPr>
            <a:lvl5pPr marL="540000" indent="-180000">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Tjenestebrug">
            <a:extLst>
              <a:ext uri="{FF2B5EF4-FFF2-40B4-BE49-F238E27FC236}">
                <a16:creationId xmlns:a16="http://schemas.microsoft.com/office/drawing/2014/main" id="{35FE3095-6256-4962-9810-7FE06144F6C9}"/>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697ACF4C-8228-4590-A676-70732BB2AE67}"/>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8" name="Tjenestebrug">
            <a:extLst>
              <a:ext uri="{FF2B5EF4-FFF2-40B4-BE49-F238E27FC236}">
                <a16:creationId xmlns:a16="http://schemas.microsoft.com/office/drawing/2014/main" id="{4E2DFBD9-C552-49EE-BD61-32F76BC1BC19}"/>
              </a:ext>
            </a:extLst>
          </p:cNvPr>
          <p:cNvSpPr>
            <a:spLocks noGrp="1"/>
          </p:cNvSpPr>
          <p:nvPr>
            <p:ph type="body" sz="quarter" idx="19" hasCustomPrompt="1"/>
          </p:nvPr>
        </p:nvSpPr>
        <p:spPr>
          <a:xfrm>
            <a:off x="4173065" y="6500763"/>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47A7FB00-BA12-423F-ADC1-A99210B37699}"/>
              </a:ext>
            </a:extLst>
          </p:cNvPr>
          <p:cNvSpPr>
            <a:spLocks noGrp="1"/>
          </p:cNvSpPr>
          <p:nvPr>
            <p:ph type="body" sz="quarter" idx="20" hasCustomPrompt="1"/>
          </p:nvPr>
        </p:nvSpPr>
        <p:spPr>
          <a:xfrm>
            <a:off x="4173084" y="6658515"/>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6"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7" name="Pladsholder til sidefod 15"/>
          <p:cNvSpPr>
            <a:spLocks noGrp="1"/>
          </p:cNvSpPr>
          <p:nvPr>
            <p:ph type="ftr" sz="quarter" idx="26"/>
          </p:nvPr>
        </p:nvSpPr>
        <p:spPr>
          <a:xfrm>
            <a:off x="8226827" y="6420474"/>
            <a:ext cx="2988644" cy="146223"/>
          </a:xfrm>
        </p:spPr>
        <p:txBody>
          <a:bodyPr/>
          <a:lstStyle/>
          <a:p>
            <a:endParaRPr lang="en-GB" dirty="0">
              <a:solidFill>
                <a:prstClr val="black"/>
              </a:solidFill>
            </a:endParaRPr>
          </a:p>
        </p:txBody>
      </p:sp>
      <p:sp>
        <p:nvSpPr>
          <p:cNvPr id="28" name="Pladsholder til tekst 2"/>
          <p:cNvSpPr>
            <a:spLocks noGrp="1"/>
          </p:cNvSpPr>
          <p:nvPr>
            <p:ph type="body" sz="quarter" idx="27"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9" name="Pladsholder til tekst 2"/>
          <p:cNvSpPr>
            <a:spLocks noGrp="1"/>
          </p:cNvSpPr>
          <p:nvPr>
            <p:ph type="body" sz="quarter" idx="28"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7"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20" name="Billed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Tree>
    <p:extLst>
      <p:ext uri="{BB962C8B-B14F-4D97-AF65-F5344CB8AC3E}">
        <p14:creationId xmlns:p14="http://schemas.microsoft.com/office/powerpoint/2010/main" val="2928561269"/>
      </p:ext>
    </p:extLst>
  </p:cSld>
  <p:clrMapOvr>
    <a:masterClrMapping/>
  </p:clrMapOvr>
  <p:extLst>
    <p:ext uri="{DCECCB84-F9BA-43D5-87BE-67443E8EF086}">
      <p15:sldGuideLst xmlns:p15="http://schemas.microsoft.com/office/powerpoint/2012/main">
        <p15:guide id="1" pos="226">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Kun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her for at tilføje en titel</a:t>
            </a:r>
          </a:p>
        </p:txBody>
      </p:sp>
      <p:sp>
        <p:nvSpPr>
          <p:cNvPr id="12" name="Tjenestebrug">
            <a:extLst>
              <a:ext uri="{FF2B5EF4-FFF2-40B4-BE49-F238E27FC236}">
                <a16:creationId xmlns:a16="http://schemas.microsoft.com/office/drawing/2014/main" id="{D1868055-18E6-40E8-B805-B82F14A9584C}"/>
              </a:ext>
            </a:extLst>
          </p:cNvPr>
          <p:cNvSpPr>
            <a:spLocks noGrp="1"/>
          </p:cNvSpPr>
          <p:nvPr>
            <p:ph type="body" sz="quarter" idx="16" hasCustomPrompt="1"/>
          </p:nvPr>
        </p:nvSpPr>
        <p:spPr>
          <a:xfrm>
            <a:off x="4173067" y="113146"/>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3" name="Afklassificeret">
            <a:extLst>
              <a:ext uri="{FF2B5EF4-FFF2-40B4-BE49-F238E27FC236}">
                <a16:creationId xmlns:a16="http://schemas.microsoft.com/office/drawing/2014/main" id="{8126867F-BD3A-45BA-96EE-6E9AE4F5EE72}"/>
              </a:ext>
            </a:extLst>
          </p:cNvPr>
          <p:cNvSpPr>
            <a:spLocks noGrp="1"/>
          </p:cNvSpPr>
          <p:nvPr>
            <p:ph type="body" sz="quarter" idx="17" hasCustomPrompt="1"/>
          </p:nvPr>
        </p:nvSpPr>
        <p:spPr>
          <a:xfrm>
            <a:off x="4173069" y="277200"/>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5" name="Tjenestebrug">
            <a:extLst>
              <a:ext uri="{FF2B5EF4-FFF2-40B4-BE49-F238E27FC236}">
                <a16:creationId xmlns:a16="http://schemas.microsoft.com/office/drawing/2014/main" id="{64E702A2-5A83-4FD2-A285-D7CF9FDB7FE8}"/>
              </a:ext>
            </a:extLst>
          </p:cNvPr>
          <p:cNvSpPr>
            <a:spLocks noGrp="1"/>
          </p:cNvSpPr>
          <p:nvPr>
            <p:ph type="body" sz="quarter" idx="19" hasCustomPrompt="1"/>
          </p:nvPr>
        </p:nvSpPr>
        <p:spPr>
          <a:xfrm>
            <a:off x="4173066" y="6475588"/>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D07E64A7-4EFA-440B-9CFF-446374F93970}"/>
              </a:ext>
            </a:extLst>
          </p:cNvPr>
          <p:cNvSpPr>
            <a:spLocks noGrp="1"/>
          </p:cNvSpPr>
          <p:nvPr>
            <p:ph type="body" sz="quarter" idx="20" hasCustomPrompt="1"/>
          </p:nvPr>
        </p:nvSpPr>
        <p:spPr>
          <a:xfrm>
            <a:off x="4173068" y="6633347"/>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2" name="Pladsholder til dato 14"/>
          <p:cNvSpPr>
            <a:spLocks noGrp="1"/>
          </p:cNvSpPr>
          <p:nvPr>
            <p:ph type="dt" sz="half" idx="22"/>
          </p:nvPr>
        </p:nvSpPr>
        <p:spPr>
          <a:xfrm>
            <a:off x="8226824" y="6571530"/>
            <a:ext cx="2988644" cy="108000"/>
          </a:xfrm>
        </p:spPr>
        <p:txBody>
          <a:bodyPr/>
          <a:lstStyle/>
          <a:p>
            <a:endParaRPr lang="en-GB" dirty="0">
              <a:solidFill>
                <a:prstClr val="black"/>
              </a:solidFill>
            </a:endParaRPr>
          </a:p>
        </p:txBody>
      </p:sp>
      <p:sp>
        <p:nvSpPr>
          <p:cNvPr id="23" name="Pladsholder til sidefod 15"/>
          <p:cNvSpPr>
            <a:spLocks noGrp="1"/>
          </p:cNvSpPr>
          <p:nvPr>
            <p:ph type="ftr" sz="quarter" idx="23"/>
          </p:nvPr>
        </p:nvSpPr>
        <p:spPr>
          <a:xfrm>
            <a:off x="8226824" y="6420467"/>
            <a:ext cx="2988644" cy="146223"/>
          </a:xfrm>
        </p:spPr>
        <p:txBody>
          <a:bodyPr/>
          <a:lstStyle/>
          <a:p>
            <a:r>
              <a:rPr lang="en-GB" dirty="0">
                <a:solidFill>
                  <a:prstClr val="black"/>
                </a:solidFill>
              </a:rPr>
              <a:t>LRGN W ORA 30.marts 2022</a:t>
            </a:r>
          </a:p>
        </p:txBody>
      </p:sp>
      <p:sp>
        <p:nvSpPr>
          <p:cNvPr id="24" name="Pladsholder til tekst 2"/>
          <p:cNvSpPr>
            <a:spLocks noGrp="1"/>
          </p:cNvSpPr>
          <p:nvPr>
            <p:ph type="body" sz="quarter" idx="25" hasCustomPrompt="1"/>
          </p:nvPr>
        </p:nvSpPr>
        <p:spPr>
          <a:xfrm>
            <a:off x="8226949" y="6278040"/>
            <a:ext cx="2989691" cy="122237"/>
          </a:xfrm>
        </p:spPr>
        <p:txBody>
          <a:bodyPr/>
          <a:lstStyle>
            <a:lvl1pPr marL="0" indent="0" algn="r">
              <a:buNone/>
              <a:defRPr sz="700" b="1" baseline="0"/>
            </a:lvl1pPr>
          </a:lstStyle>
          <a:p>
            <a:pPr lvl="0"/>
            <a:r>
              <a:rPr lang="da-DK" dirty="0"/>
              <a:t>Klik her for at tilføje titel </a:t>
            </a:r>
          </a:p>
        </p:txBody>
      </p:sp>
      <p:sp>
        <p:nvSpPr>
          <p:cNvPr id="25" name="Pladsholder til tekst 2"/>
          <p:cNvSpPr>
            <a:spLocks noGrp="1"/>
          </p:cNvSpPr>
          <p:nvPr>
            <p:ph type="body" sz="quarter" idx="26" hasCustomPrompt="1"/>
          </p:nvPr>
        </p:nvSpPr>
        <p:spPr>
          <a:xfrm>
            <a:off x="8239318" y="6684882"/>
            <a:ext cx="2989691" cy="122237"/>
          </a:xfrm>
        </p:spPr>
        <p:txBody>
          <a:bodyPr/>
          <a:lstStyle>
            <a:lvl1pPr marL="0" indent="0" algn="r">
              <a:buNone/>
              <a:defRPr sz="700" b="0" i="0"/>
            </a:lvl1pPr>
          </a:lstStyle>
          <a:p>
            <a:pPr lvl="0"/>
            <a:r>
              <a:rPr lang="da-DK" dirty="0"/>
              <a:t>Klik for at tilføje REF</a:t>
            </a:r>
          </a:p>
        </p:txBody>
      </p:sp>
      <p:sp>
        <p:nvSpPr>
          <p:cNvPr id="14"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17" name="Billede 16"/>
          <p:cNvPicPr>
            <a:picLocks noChangeAspect="1"/>
          </p:cNvPicPr>
          <p:nvPr userDrawn="1"/>
        </p:nvPicPr>
        <p:blipFill>
          <a:blip r:embed="rId2"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492923" y="130695"/>
            <a:ext cx="1803710" cy="417804"/>
          </a:xfrm>
          <a:prstGeom prst="rect">
            <a:avLst/>
          </a:prstGeom>
        </p:spPr>
      </p:pic>
    </p:spTree>
    <p:extLst>
      <p:ext uri="{BB962C8B-B14F-4D97-AF65-F5344CB8AC3E}">
        <p14:creationId xmlns:p14="http://schemas.microsoft.com/office/powerpoint/2010/main" val="25415777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eldias">
    <p:spTree>
      <p:nvGrpSpPr>
        <p:cNvPr id="1" name=""/>
        <p:cNvGrpSpPr/>
        <p:nvPr/>
      </p:nvGrpSpPr>
      <p:grpSpPr>
        <a:xfrm>
          <a:off x="0" y="0"/>
          <a:ext cx="0" cy="0"/>
          <a:chOff x="0" y="0"/>
          <a:chExt cx="0" cy="0"/>
        </a:xfrm>
      </p:grpSpPr>
      <p:sp>
        <p:nvSpPr>
          <p:cNvPr id="8" name="Pladsholder til sidefod 8"/>
          <p:cNvSpPr txBox="1">
            <a:spLocks/>
          </p:cNvSpPr>
          <p:nvPr userDrawn="1"/>
        </p:nvSpPr>
        <p:spPr>
          <a:xfrm>
            <a:off x="4062777" y="6298229"/>
            <a:ext cx="3860800" cy="365125"/>
          </a:xfrm>
          <a:prstGeom prst="rect">
            <a:avLst/>
          </a:prstGeom>
        </p:spPr>
        <p:txBody>
          <a:bodyPr/>
          <a:lstStyle>
            <a:lvl1pPr algn="ctr" defTabSz="457200" rtl="0" fontAlgn="base">
              <a:spcBef>
                <a:spcPct val="0"/>
              </a:spcBef>
              <a:spcAft>
                <a:spcPct val="0"/>
              </a:spcAft>
              <a:defRPr lang="da-DK" sz="900" b="0" kern="1200" cap="all" baseline="0" dirty="0" smtClean="0">
                <a:solidFill>
                  <a:srgbClr val="FF0000"/>
                </a:solidFill>
                <a:latin typeface="Arial" charset="0"/>
                <a:ea typeface="+mn-ea"/>
                <a:cs typeface="+mn-cs"/>
              </a:defRPr>
            </a:lvl1pPr>
          </a:lstStyle>
          <a:p>
            <a:pPr marL="0" marR="0" lvl="0" indent="0" algn="ctr" defTabSz="609402" rtl="0" eaLnBrk="1" fontAlgn="base" latinLnBrk="0" hangingPunct="1">
              <a:lnSpc>
                <a:spcPct val="100000"/>
              </a:lnSpc>
              <a:spcBef>
                <a:spcPct val="0"/>
              </a:spcBef>
              <a:spcAft>
                <a:spcPct val="0"/>
              </a:spcAft>
              <a:buClrTx/>
              <a:buSzTx/>
              <a:buFontTx/>
              <a:buNone/>
              <a:tabLst/>
              <a:defRPr/>
            </a:pPr>
            <a:r>
              <a:rPr kumimoji="0" lang="da-DK" sz="1333" b="1" i="0" u="none" strike="noStrike" kern="1200" cap="all"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Til tjenestebrug</a:t>
            </a:r>
          </a:p>
        </p:txBody>
      </p:sp>
      <p:sp>
        <p:nvSpPr>
          <p:cNvPr id="2" name="Rektangel 1"/>
          <p:cNvSpPr/>
          <p:nvPr userDrawn="1"/>
        </p:nvSpPr>
        <p:spPr>
          <a:xfrm>
            <a:off x="1487490" y="5991094"/>
            <a:ext cx="9850096" cy="297454"/>
          </a:xfrm>
          <a:prstGeom prst="rect">
            <a:avLst/>
          </a:prstGeom>
        </p:spPr>
        <p:txBody>
          <a:bodyPr wrap="square">
            <a:spAutoFit/>
          </a:bodyPr>
          <a:lstStyle/>
          <a:p>
            <a:pPr algn="ctr"/>
            <a:r>
              <a:rPr lang="da-DK" sz="1333" b="1" i="1" dirty="0">
                <a:latin typeface="Verdana" panose="020B0604030504040204" pitchFamily="34" charset="0"/>
                <a:ea typeface="Verdana" panose="020B0604030504040204" pitchFamily="34" charset="0"/>
                <a:cs typeface="Verdana" panose="020B0604030504040204" pitchFamily="34" charset="0"/>
              </a:rPr>
              <a:t>”Operationsstaben indsætter Forsvarets kapaciteter til gavn for Danmark”</a:t>
            </a:r>
          </a:p>
        </p:txBody>
      </p:sp>
    </p:spTree>
    <p:extLst>
      <p:ext uri="{BB962C8B-B14F-4D97-AF65-F5344CB8AC3E}">
        <p14:creationId xmlns:p14="http://schemas.microsoft.com/office/powerpoint/2010/main" val="1512825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pic>
        <p:nvPicPr>
          <p:cNvPr id="20" name="Billed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p:cNvSpPr>
            <a:spLocks noGrp="1"/>
          </p:cNvSpPr>
          <p:nvPr>
            <p:ph type="title" hasCustomPrompt="1"/>
          </p:nvPr>
        </p:nvSpPr>
        <p:spPr/>
        <p:txBody>
          <a:bodyPr/>
          <a:lstStyle>
            <a:lvl1pPr>
              <a:defRPr/>
            </a:lvl1pPr>
          </a:lstStyle>
          <a:p>
            <a:r>
              <a:rPr lang="da-DK" dirty="0"/>
              <a:t>Klik her for at tilføje en titel</a:t>
            </a:r>
          </a:p>
        </p:txBody>
      </p:sp>
      <p:sp>
        <p:nvSpPr>
          <p:cNvPr id="12" name="Tjenestebrug">
            <a:extLst>
              <a:ext uri="{FF2B5EF4-FFF2-40B4-BE49-F238E27FC236}">
                <a16:creationId xmlns:a16="http://schemas.microsoft.com/office/drawing/2014/main" id="{D1868055-18E6-40E8-B805-B82F14A9584C}"/>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3" name="Afklassificeret">
            <a:extLst>
              <a:ext uri="{FF2B5EF4-FFF2-40B4-BE49-F238E27FC236}">
                <a16:creationId xmlns:a16="http://schemas.microsoft.com/office/drawing/2014/main" id="{8126867F-BD3A-45BA-96EE-6E9AE4F5EE72}"/>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5" name="Tjenestebrug">
            <a:extLst>
              <a:ext uri="{FF2B5EF4-FFF2-40B4-BE49-F238E27FC236}">
                <a16:creationId xmlns:a16="http://schemas.microsoft.com/office/drawing/2014/main" id="{64E702A2-5A83-4FD2-A285-D7CF9FDB7FE8}"/>
              </a:ext>
            </a:extLst>
          </p:cNvPr>
          <p:cNvSpPr>
            <a:spLocks noGrp="1"/>
          </p:cNvSpPr>
          <p:nvPr>
            <p:ph type="body" sz="quarter" idx="19" hasCustomPrompt="1"/>
          </p:nvPr>
        </p:nvSpPr>
        <p:spPr>
          <a:xfrm>
            <a:off x="4173065" y="6475596"/>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D07E64A7-4EFA-440B-9CFF-446374F93970}"/>
              </a:ext>
            </a:extLst>
          </p:cNvPr>
          <p:cNvSpPr>
            <a:spLocks noGrp="1"/>
          </p:cNvSpPr>
          <p:nvPr>
            <p:ph type="body" sz="quarter" idx="20" hasCustomPrompt="1"/>
          </p:nvPr>
        </p:nvSpPr>
        <p:spPr>
          <a:xfrm>
            <a:off x="4173084" y="663334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2"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3"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24"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5"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4"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5933757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16779"/>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30" name="Tjenestebrug">
            <a:extLst>
              <a:ext uri="{FF2B5EF4-FFF2-40B4-BE49-F238E27FC236}">
                <a16:creationId xmlns:a16="http://schemas.microsoft.com/office/drawing/2014/main" id="{109BD2B5-7217-4402-8504-4D89994143C6}"/>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31" name="Afklassificeret">
            <a:extLst>
              <a:ext uri="{FF2B5EF4-FFF2-40B4-BE49-F238E27FC236}">
                <a16:creationId xmlns:a16="http://schemas.microsoft.com/office/drawing/2014/main" id="{D3455C4F-081F-496E-8ADA-6A7B9DBB65A8}"/>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33" name="Tjenestebrug">
            <a:extLst>
              <a:ext uri="{FF2B5EF4-FFF2-40B4-BE49-F238E27FC236}">
                <a16:creationId xmlns:a16="http://schemas.microsoft.com/office/drawing/2014/main" id="{7A523A2A-D771-44C9-995A-1AB3E66FDB06}"/>
              </a:ext>
            </a:extLst>
          </p:cNvPr>
          <p:cNvSpPr>
            <a:spLocks noGrp="1"/>
          </p:cNvSpPr>
          <p:nvPr>
            <p:ph type="body" sz="quarter" idx="19" hasCustomPrompt="1"/>
          </p:nvPr>
        </p:nvSpPr>
        <p:spPr>
          <a:xfrm>
            <a:off x="4173065" y="6467207"/>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34" name="Afklassificeret">
            <a:extLst>
              <a:ext uri="{FF2B5EF4-FFF2-40B4-BE49-F238E27FC236}">
                <a16:creationId xmlns:a16="http://schemas.microsoft.com/office/drawing/2014/main" id="{D7D1BE7F-D5EB-4217-B570-3410E62B4202}"/>
              </a:ext>
            </a:extLst>
          </p:cNvPr>
          <p:cNvSpPr>
            <a:spLocks noGrp="1"/>
          </p:cNvSpPr>
          <p:nvPr>
            <p:ph type="body" sz="quarter" idx="20" hasCustomPrompt="1"/>
          </p:nvPr>
        </p:nvSpPr>
        <p:spPr>
          <a:xfrm>
            <a:off x="4173084" y="6624959"/>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9" name="Tekstboks 18"/>
          <p:cNvSpPr txBox="1"/>
          <p:nvPr userDrawn="1"/>
        </p:nvSpPr>
        <p:spPr>
          <a:xfrm>
            <a:off x="754922" y="5634845"/>
            <a:ext cx="2202335" cy="807913"/>
          </a:xfrm>
          <a:prstGeom prst="rect">
            <a:avLst/>
          </a:prstGeom>
          <a:noFill/>
        </p:spPr>
        <p:txBody>
          <a:bodyPr wrap="square" lIns="0" tIns="0" rIns="0" bIns="0" rtlCol="0">
            <a:spAutoFit/>
          </a:bodyPr>
          <a:lstStyle/>
          <a:p>
            <a:pPr>
              <a:lnSpc>
                <a:spcPct val="125000"/>
              </a:lnSpc>
            </a:pPr>
            <a:r>
              <a:rPr lang="da-DK" sz="700" dirty="0">
                <a:solidFill>
                  <a:prstClr val="black"/>
                </a:solidFill>
              </a:rPr>
              <a:t>Herningvej 30</a:t>
            </a:r>
          </a:p>
          <a:p>
            <a:pPr>
              <a:lnSpc>
                <a:spcPct val="125000"/>
              </a:lnSpc>
            </a:pPr>
            <a:r>
              <a:rPr lang="da-DK" sz="700" dirty="0">
                <a:solidFill>
                  <a:prstClr val="black"/>
                </a:solidFill>
              </a:rPr>
              <a:t>7470 Karup J</a:t>
            </a:r>
          </a:p>
          <a:p>
            <a:pPr>
              <a:lnSpc>
                <a:spcPct val="125000"/>
              </a:lnSpc>
            </a:pPr>
            <a:endParaRPr lang="da-DK" sz="700" dirty="0">
              <a:solidFill>
                <a:prstClr val="black"/>
              </a:solidFill>
            </a:endParaRPr>
          </a:p>
          <a:p>
            <a:pPr>
              <a:lnSpc>
                <a:spcPct val="125000"/>
              </a:lnSpc>
            </a:pPr>
            <a:r>
              <a:rPr lang="da-DK" sz="700" dirty="0">
                <a:solidFill>
                  <a:prstClr val="black"/>
                </a:solidFill>
              </a:rPr>
              <a:t>Telefon: 7284 0000</a:t>
            </a:r>
          </a:p>
          <a:p>
            <a:pPr>
              <a:lnSpc>
                <a:spcPct val="125000"/>
              </a:lnSpc>
            </a:pPr>
            <a:r>
              <a:rPr lang="da-DK" sz="700" dirty="0">
                <a:solidFill>
                  <a:prstClr val="black"/>
                </a:solidFill>
              </a:rPr>
              <a:t>E-mail: </a:t>
            </a:r>
            <a:r>
              <a:rPr lang="da-DK" sz="700" dirty="0">
                <a:solidFill>
                  <a:prstClr val="black"/>
                </a:solidFill>
                <a:hlinkClick r:id="rId2"/>
              </a:rPr>
              <a:t>FKO@mil.dk</a:t>
            </a:r>
            <a:endParaRPr lang="da-DK" sz="700" dirty="0">
              <a:solidFill>
                <a:prstClr val="black"/>
              </a:solidFill>
            </a:endParaRPr>
          </a:p>
          <a:p>
            <a:pPr>
              <a:lnSpc>
                <a:spcPct val="125000"/>
              </a:lnSpc>
            </a:pPr>
            <a:r>
              <a:rPr lang="da-DK" sz="700" dirty="0">
                <a:solidFill>
                  <a:prstClr val="black"/>
                </a:solidFill>
              </a:rPr>
              <a:t>www.forsvaret.dk</a:t>
            </a:r>
          </a:p>
        </p:txBody>
      </p:sp>
      <p:sp>
        <p:nvSpPr>
          <p:cNvPr id="16" name="Titel 15"/>
          <p:cNvSpPr>
            <a:spLocks noGrp="1"/>
          </p:cNvSpPr>
          <p:nvPr>
            <p:ph type="title"/>
          </p:nvPr>
        </p:nvSpPr>
        <p:spPr>
          <a:xfrm>
            <a:off x="891041" y="3172377"/>
            <a:ext cx="10706097" cy="1179821"/>
          </a:xfrm>
        </p:spPr>
        <p:txBody>
          <a:bodyPr/>
          <a:lstStyle>
            <a:lvl1pPr algn="ctr">
              <a:defRPr/>
            </a:lvl1pPr>
          </a:lstStyle>
          <a:p>
            <a:r>
              <a:rPr lang="da-DK"/>
              <a:t>Klik for at redigere i master</a:t>
            </a:r>
          </a:p>
        </p:txBody>
      </p:sp>
      <p:pic>
        <p:nvPicPr>
          <p:cNvPr id="11" name="Picture 2" descr="http://team.msp.forsvaret.fiin.dk/sites/Haerkommandoen/SiteAssets/SitePages/Startside/haermaerke.gif"/>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94634" y="5141983"/>
            <a:ext cx="488359" cy="410665"/>
          </a:xfrm>
          <a:prstGeom prst="rect">
            <a:avLst/>
          </a:prstGeom>
          <a:noFill/>
          <a:extLst>
            <a:ext uri="{909E8E84-426E-40DD-AFC4-6F175D3DCCD1}">
              <a14:hiddenFill xmlns:a14="http://schemas.microsoft.com/office/drawing/2010/main">
                <a:solidFill>
                  <a:srgbClr val="FFFFFF"/>
                </a:solidFill>
              </a14:hiddenFill>
            </a:ext>
          </a:extLst>
        </p:spPr>
      </p:pic>
      <p:sp>
        <p:nvSpPr>
          <p:cNvPr id="12" name="Tekstboks 11"/>
          <p:cNvSpPr txBox="1"/>
          <p:nvPr userDrawn="1"/>
        </p:nvSpPr>
        <p:spPr>
          <a:xfrm>
            <a:off x="1251394" y="5331435"/>
            <a:ext cx="1321247" cy="153888"/>
          </a:xfrm>
          <a:prstGeom prst="rect">
            <a:avLst/>
          </a:prstGeom>
          <a:noFill/>
        </p:spPr>
        <p:txBody>
          <a:bodyPr wrap="square" lIns="0" tIns="0" rIns="0" bIns="0" rtlCol="0">
            <a:spAutoFit/>
          </a:bodyPr>
          <a:lstStyle/>
          <a:p>
            <a:pPr>
              <a:lnSpc>
                <a:spcPct val="125000"/>
              </a:lnSpc>
            </a:pPr>
            <a:r>
              <a:rPr lang="da-DK" sz="800" dirty="0">
                <a:solidFill>
                  <a:prstClr val="black"/>
                </a:solidFill>
              </a:rPr>
              <a:t>Hæren</a:t>
            </a:r>
          </a:p>
        </p:txBody>
      </p:sp>
    </p:spTree>
    <p:extLst>
      <p:ext uri="{BB962C8B-B14F-4D97-AF65-F5344CB8AC3E}">
        <p14:creationId xmlns:p14="http://schemas.microsoft.com/office/powerpoint/2010/main" val="1028992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12"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13"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14"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15"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8"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3085807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ST_underside_type1.1">
    <p:spTree>
      <p:nvGrpSpPr>
        <p:cNvPr id="1" name=""/>
        <p:cNvGrpSpPr/>
        <p:nvPr/>
      </p:nvGrpSpPr>
      <p:grpSpPr>
        <a:xfrm>
          <a:off x="0" y="0"/>
          <a:ext cx="0" cy="0"/>
          <a:chOff x="0" y="0"/>
          <a:chExt cx="0" cy="0"/>
        </a:xfrm>
      </p:grpSpPr>
      <p:sp>
        <p:nvSpPr>
          <p:cNvPr id="8" name="Title 1"/>
          <p:cNvSpPr>
            <a:spLocks noGrp="1"/>
          </p:cNvSpPr>
          <p:nvPr>
            <p:ph type="title"/>
          </p:nvPr>
        </p:nvSpPr>
        <p:spPr>
          <a:xfrm>
            <a:off x="6044967" y="216449"/>
            <a:ext cx="5784112" cy="246357"/>
          </a:xfrm>
          <a:prstGeom prst="rect">
            <a:avLst/>
          </a:prstGeom>
        </p:spPr>
        <p:txBody>
          <a:bodyPr/>
          <a:lstStyle>
            <a:lvl1pPr algn="r">
              <a:defRPr sz="1200" b="1" cap="all" baseline="0">
                <a:solidFill>
                  <a:schemeClr val="tx1"/>
                </a:solidFill>
                <a:latin typeface="Arial" pitchFamily="34" charset="0"/>
                <a:cs typeface="Arial" pitchFamily="34" charset="0"/>
              </a:defRPr>
            </a:lvl1pPr>
          </a:lstStyle>
          <a:p>
            <a:r>
              <a:rPr lang="da-DK"/>
              <a:t>Klik for at redigere titeltypografi i masteren</a:t>
            </a:r>
            <a:endParaRPr lang="en-US" dirty="0"/>
          </a:p>
        </p:txBody>
      </p:sp>
      <p:cxnSp>
        <p:nvCxnSpPr>
          <p:cNvPr id="10" name="Straight Connector 13"/>
          <p:cNvCxnSpPr/>
          <p:nvPr userDrawn="1"/>
        </p:nvCxnSpPr>
        <p:spPr>
          <a:xfrm>
            <a:off x="463873" y="2061219"/>
            <a:ext cx="11251531"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ladsholder til indhold 11"/>
          <p:cNvSpPr>
            <a:spLocks noGrp="1"/>
          </p:cNvSpPr>
          <p:nvPr>
            <p:ph sz="quarter" idx="10"/>
          </p:nvPr>
        </p:nvSpPr>
        <p:spPr>
          <a:xfrm>
            <a:off x="321756" y="2061220"/>
            <a:ext cx="11535833" cy="4173325"/>
          </a:xfrm>
          <a:prstGeom prst="rect">
            <a:avLst/>
          </a:prstGeom>
        </p:spPr>
        <p:txBody>
          <a:bodyPr/>
          <a:lstStyle>
            <a:lvl1pPr marL="0" indent="0">
              <a:buNone/>
              <a:defRPr sz="2000">
                <a:latin typeface="Arial" pitchFamily="34" charset="0"/>
                <a:cs typeface="Arial" pitchFamily="34" charset="0"/>
              </a:defRPr>
            </a:lvl1pPr>
            <a:lvl2pPr marL="0" indent="0">
              <a:buNone/>
              <a:defRPr sz="1600">
                <a:latin typeface="Arial" pitchFamily="34" charset="0"/>
                <a:cs typeface="Arial" pitchFamily="34" charset="0"/>
              </a:defRPr>
            </a:lvl2pPr>
          </a:lstStyle>
          <a:p>
            <a:pPr lvl="0"/>
            <a:r>
              <a:rPr lang="da-DK"/>
              <a:t>Klik for at redigere typografi i masteren</a:t>
            </a:r>
          </a:p>
          <a:p>
            <a:pPr lvl="1"/>
            <a:r>
              <a:rPr lang="da-DK"/>
              <a:t>Andet niveau</a:t>
            </a:r>
          </a:p>
        </p:txBody>
      </p:sp>
      <p:sp>
        <p:nvSpPr>
          <p:cNvPr id="16" name="Pladsholder til tekst 12"/>
          <p:cNvSpPr>
            <a:spLocks noGrp="1"/>
          </p:cNvSpPr>
          <p:nvPr>
            <p:ph type="body" sz="quarter" idx="11"/>
          </p:nvPr>
        </p:nvSpPr>
        <p:spPr>
          <a:xfrm>
            <a:off x="322044" y="1471464"/>
            <a:ext cx="11535523" cy="589767"/>
          </a:xfrm>
          <a:prstGeom prst="rect">
            <a:avLst/>
          </a:prstGeom>
        </p:spPr>
        <p:txBody>
          <a:bodyPr anchor="b"/>
          <a:lstStyle>
            <a:lvl1pPr algn="l">
              <a:buNone/>
              <a:defRPr kumimoji="0" lang="da-DK" sz="3000" b="1" i="0" u="none" strike="noStrike" kern="1200" cap="all" spc="0" normalizeH="0" baseline="0" noProof="0" dirty="0" smtClean="0">
                <a:ln>
                  <a:noFill/>
                </a:ln>
                <a:solidFill>
                  <a:schemeClr val="tx1"/>
                </a:solidFill>
                <a:effectLst/>
                <a:uLnTx/>
                <a:uFillTx/>
                <a:latin typeface="Arial" pitchFamily="34" charset="0"/>
                <a:ea typeface="+mj-ea"/>
                <a:cs typeface="Arial" pitchFamily="34" charset="0"/>
              </a:defRPr>
            </a:lvl1pPr>
          </a:lstStyle>
          <a:p>
            <a:pPr marL="0" marR="0" lvl="0" indent="0" algn="l" defTabSz="457200" rtl="0" eaLnBrk="1" fontAlgn="base" latinLnBrk="0" hangingPunct="1">
              <a:lnSpc>
                <a:spcPct val="100000"/>
              </a:lnSpc>
              <a:spcBef>
                <a:spcPct val="0"/>
              </a:spcBef>
              <a:spcAft>
                <a:spcPct val="0"/>
              </a:spcAft>
              <a:buClrTx/>
              <a:buSzTx/>
              <a:tabLst/>
              <a:defRPr/>
            </a:pPr>
            <a:r>
              <a:rPr lang="da-DK"/>
              <a:t>Klik for at redigere typografi i masteren</a:t>
            </a:r>
          </a:p>
        </p:txBody>
      </p:sp>
      <p:pic>
        <p:nvPicPr>
          <p:cNvPr id="11" name="Billed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881" y="203523"/>
            <a:ext cx="1385441" cy="409872"/>
          </a:xfrm>
          <a:prstGeom prst="rect">
            <a:avLst/>
          </a:prstGeom>
        </p:spPr>
      </p:pic>
    </p:spTree>
    <p:extLst>
      <p:ext uri="{BB962C8B-B14F-4D97-AF65-F5344CB8AC3E}">
        <p14:creationId xmlns:p14="http://schemas.microsoft.com/office/powerpoint/2010/main" val="3525080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da-DK"/>
              <a:t>Klik for at redigere i master</a:t>
            </a:r>
            <a:endParaRPr lang="en-GB"/>
          </a:p>
        </p:txBody>
      </p:sp>
      <p:sp>
        <p:nvSpPr>
          <p:cNvPr id="3" name="Content Placeholder 2"/>
          <p:cNvSpPr>
            <a:spLocks noGrp="1"/>
          </p:cNvSpPr>
          <p:nvPr>
            <p:ph idx="1"/>
          </p:nvPr>
        </p:nvSpPr>
        <p:spPr>
          <a:xfrm>
            <a:off x="838200" y="1825625"/>
            <a:ext cx="10515600" cy="4351339"/>
          </a:xfrm>
          <a:prstGeom prst="rect">
            <a:avLst/>
          </a:prstGeo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GB"/>
          </a:p>
        </p:txBody>
      </p:sp>
      <p:sp>
        <p:nvSpPr>
          <p:cNvPr id="4" name="Date Placeholder 3"/>
          <p:cNvSpPr>
            <a:spLocks noGrp="1"/>
          </p:cNvSpPr>
          <p:nvPr>
            <p:ph type="dt" sz="half" idx="10"/>
          </p:nvPr>
        </p:nvSpPr>
        <p:spPr>
          <a:xfrm>
            <a:off x="838200" y="6356353"/>
            <a:ext cx="2743200" cy="365125"/>
          </a:xfrm>
          <a:prstGeom prst="rect">
            <a:avLst/>
          </a:prstGeom>
        </p:spPr>
        <p:txBody>
          <a:bodyPr/>
          <a:lstStyle/>
          <a:p>
            <a:fld id="{76394AA9-4115-440A-B49D-BFE35C974051}" type="datetimeFigureOut">
              <a:rPr lang="da-DK" smtClean="0">
                <a:solidFill>
                  <a:prstClr val="black"/>
                </a:solidFill>
              </a:rPr>
              <a:pPr/>
              <a:t>04-02-2025</a:t>
            </a:fld>
            <a:endParaRPr lang="da-DK">
              <a:solidFill>
                <a:prstClr val="black"/>
              </a:solidFill>
            </a:endParaRPr>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endParaRPr lang="da-DK">
              <a:solidFill>
                <a:prstClr val="black"/>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fld id="{F3D25372-6BAC-4495-B7DD-E93B9D22588C}" type="slidenum">
              <a:rPr lang="da-DK" smtClean="0">
                <a:solidFill>
                  <a:prstClr val="black"/>
                </a:solidFill>
              </a:rPr>
              <a:pPr/>
              <a:t>‹nr.›</a:t>
            </a:fld>
            <a:endParaRPr lang="da-DK">
              <a:solidFill>
                <a:prstClr val="black"/>
              </a:solidFill>
            </a:endParaRPr>
          </a:p>
        </p:txBody>
      </p:sp>
    </p:spTree>
    <p:extLst>
      <p:ext uri="{BB962C8B-B14F-4D97-AF65-F5344CB8AC3E}">
        <p14:creationId xmlns:p14="http://schemas.microsoft.com/office/powerpoint/2010/main" val="1356814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7" name="Rektangel 6"/>
          <p:cNvSpPr/>
          <p:nvPr userDrawn="1"/>
        </p:nvSpPr>
        <p:spPr>
          <a:xfrm>
            <a:off x="9135430" y="6336406"/>
            <a:ext cx="3056585" cy="521595"/>
          </a:xfrm>
          <a:prstGeom prst="rect">
            <a:avLst/>
          </a:prstGeom>
          <a:solidFill>
            <a:schemeClr val="bg1"/>
          </a:solidFill>
          <a:ln>
            <a:noFill/>
          </a:ln>
          <a:effectLst>
            <a:outerShdw blurRad="40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800">
              <a:solidFill>
                <a:prstClr val="white"/>
              </a:solidFill>
            </a:endParaRPr>
          </a:p>
        </p:txBody>
      </p:sp>
      <p:sp>
        <p:nvSpPr>
          <p:cNvPr id="8" name="Title 1"/>
          <p:cNvSpPr>
            <a:spLocks noGrp="1"/>
          </p:cNvSpPr>
          <p:nvPr>
            <p:ph type="title"/>
          </p:nvPr>
        </p:nvSpPr>
        <p:spPr>
          <a:xfrm>
            <a:off x="335280" y="685800"/>
            <a:ext cx="11551920" cy="605791"/>
          </a:xfrm>
          <a:prstGeom prst="rect">
            <a:avLst/>
          </a:prstGeom>
        </p:spPr>
        <p:txBody>
          <a:bodyPr anchor="ctr" anchorCtr="1"/>
          <a:lstStyle>
            <a:lvl1pPr>
              <a:defRPr sz="3600"/>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en-US" dirty="0"/>
          </a:p>
        </p:txBody>
      </p:sp>
      <p:sp>
        <p:nvSpPr>
          <p:cNvPr id="9" name="Content Placeholder 2"/>
          <p:cNvSpPr>
            <a:spLocks noGrp="1"/>
          </p:cNvSpPr>
          <p:nvPr>
            <p:ph idx="1"/>
          </p:nvPr>
        </p:nvSpPr>
        <p:spPr>
          <a:xfrm>
            <a:off x="1821962" y="1600202"/>
            <a:ext cx="9760449" cy="4525963"/>
          </a:xfrm>
          <a:prstGeom prst="rect">
            <a:avLst/>
          </a:prstGeom>
        </p:spPr>
        <p:txBody>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err="1"/>
              <a:t>Second</a:t>
            </a:r>
            <a:r>
              <a:rPr lang="da-DK" dirty="0"/>
              <a:t> </a:t>
            </a:r>
            <a:r>
              <a:rPr lang="da-DK" dirty="0" err="1"/>
              <a:t>level</a:t>
            </a:r>
            <a:endParaRPr lang="da-DK" dirty="0"/>
          </a:p>
          <a:p>
            <a:pPr lvl="2"/>
            <a:r>
              <a:rPr lang="da-DK" dirty="0" err="1"/>
              <a:t>Third</a:t>
            </a:r>
            <a:r>
              <a:rPr lang="da-DK" dirty="0"/>
              <a:t> </a:t>
            </a:r>
            <a:r>
              <a:rPr lang="da-DK" dirty="0" err="1"/>
              <a:t>level</a:t>
            </a:r>
            <a:endParaRPr lang="da-DK" dirty="0"/>
          </a:p>
          <a:p>
            <a:pPr lvl="3"/>
            <a:r>
              <a:rPr lang="da-DK" dirty="0" err="1"/>
              <a:t>Fourth</a:t>
            </a:r>
            <a:r>
              <a:rPr lang="da-DK" dirty="0"/>
              <a:t> </a:t>
            </a:r>
            <a:r>
              <a:rPr lang="da-DK" dirty="0" err="1"/>
              <a:t>level</a:t>
            </a:r>
            <a:endParaRPr lang="da-DK" dirty="0"/>
          </a:p>
          <a:p>
            <a:pPr lvl="4"/>
            <a:r>
              <a:rPr lang="da-DK" dirty="0" err="1"/>
              <a:t>Fifth</a:t>
            </a:r>
            <a:r>
              <a:rPr lang="da-DK" dirty="0"/>
              <a:t> </a:t>
            </a:r>
            <a:r>
              <a:rPr lang="da-DK" dirty="0" err="1"/>
              <a:t>level</a:t>
            </a:r>
            <a:endParaRPr lang="en-US" dirty="0"/>
          </a:p>
        </p:txBody>
      </p:sp>
    </p:spTree>
    <p:extLst>
      <p:ext uri="{BB962C8B-B14F-4D97-AF65-F5344CB8AC3E}">
        <p14:creationId xmlns:p14="http://schemas.microsoft.com/office/powerpoint/2010/main" val="1145471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5" y="1871673"/>
            <a:ext cx="108451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3896294"/>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5" y="6450430"/>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4" y="660818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0"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15368541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7"/>
            <a:ext cx="2844800" cy="365125"/>
          </a:xfrm>
          <a:prstGeom prst="rect">
            <a:avLst/>
          </a:prstGeom>
        </p:spPr>
        <p:txBody>
          <a:bodyPr/>
          <a:lstStyle/>
          <a:p>
            <a:fld id="{76394AA9-4115-440A-B49D-BFE35C974051}" type="datetimeFigureOut">
              <a:rPr lang="da-DK" smtClean="0">
                <a:solidFill>
                  <a:prstClr val="black"/>
                </a:solidFill>
              </a:rPr>
              <a:pPr/>
              <a:t>04-02-2025</a:t>
            </a:fld>
            <a:endParaRPr lang="da-DK">
              <a:solidFill>
                <a:prstClr val="black"/>
              </a:solidFill>
            </a:endParaRPr>
          </a:p>
        </p:txBody>
      </p:sp>
      <p:sp>
        <p:nvSpPr>
          <p:cNvPr id="3" name="Footer Placeholder 2"/>
          <p:cNvSpPr>
            <a:spLocks noGrp="1"/>
          </p:cNvSpPr>
          <p:nvPr>
            <p:ph type="ftr" sz="quarter" idx="11"/>
          </p:nvPr>
        </p:nvSpPr>
        <p:spPr>
          <a:xfrm>
            <a:off x="4165600" y="6356357"/>
            <a:ext cx="3860800" cy="365125"/>
          </a:xfrm>
          <a:prstGeom prst="rect">
            <a:avLst/>
          </a:prstGeom>
        </p:spPr>
        <p:txBody>
          <a:bodyPr/>
          <a:lstStyle/>
          <a:p>
            <a:endParaRPr lang="da-DK">
              <a:solidFill>
                <a:prstClr val="black"/>
              </a:solidFill>
            </a:endParaRPr>
          </a:p>
        </p:txBody>
      </p:sp>
      <p:sp>
        <p:nvSpPr>
          <p:cNvPr id="4" name="Slide Number Placeholder 3"/>
          <p:cNvSpPr>
            <a:spLocks noGrp="1"/>
          </p:cNvSpPr>
          <p:nvPr>
            <p:ph type="sldNum" sz="quarter" idx="12"/>
          </p:nvPr>
        </p:nvSpPr>
        <p:spPr>
          <a:xfrm>
            <a:off x="8737600" y="6356357"/>
            <a:ext cx="2844800" cy="365125"/>
          </a:xfrm>
          <a:prstGeom prst="rect">
            <a:avLst/>
          </a:prstGeom>
        </p:spPr>
        <p:txBody>
          <a:bodyPr/>
          <a:lstStyle/>
          <a:p>
            <a:fld id="{F3D25372-6BAC-4495-B7DD-E93B9D22588C}" type="slidenum">
              <a:rPr lang="da-DK" smtClean="0">
                <a:solidFill>
                  <a:prstClr val="black"/>
                </a:solidFill>
              </a:rPr>
              <a:pPr/>
              <a:t>‹nr.›</a:t>
            </a:fld>
            <a:endParaRPr lang="da-DK">
              <a:solidFill>
                <a:prstClr val="black"/>
              </a:solidFill>
            </a:endParaRPr>
          </a:p>
        </p:txBody>
      </p:sp>
    </p:spTree>
    <p:extLst>
      <p:ext uri="{BB962C8B-B14F-4D97-AF65-F5344CB8AC3E}">
        <p14:creationId xmlns:p14="http://schemas.microsoft.com/office/powerpoint/2010/main" val="1574974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Brugerdefinere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74" y="1590"/>
          <a:ext cx="1953" cy="1587"/>
        </p:xfrm>
        <a:graphic>
          <a:graphicData uri="http://schemas.openxmlformats.org/presentationml/2006/ole">
            <mc:AlternateContent xmlns:mc="http://schemas.openxmlformats.org/markup-compatibility/2006">
              <mc:Choice xmlns:v="urn:schemas-microsoft-com:vml" Requires="v">
                <p:oleObj spid="_x0000_s110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Lige forbindelse 12"/>
          <p:cNvCxnSpPr/>
          <p:nvPr userDrawn="1"/>
        </p:nvCxnSpPr>
        <p:spPr>
          <a:xfrm>
            <a:off x="0" y="6453336"/>
            <a:ext cx="12192000" cy="0"/>
          </a:xfrm>
          <a:prstGeom prst="line">
            <a:avLst/>
          </a:prstGeom>
          <a:ln w="9525">
            <a:solidFill>
              <a:schemeClr val="bg1">
                <a:lumMod val="9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4" name="LogoTwo_HIDE_1_2" descr="HST_FARVE_da-DK"/>
          <p:cNvPicPr>
            <a:picLocks noChangeAspect="1" noChangeArrowheads="1"/>
          </p:cNvPicPr>
          <p:nvPr userDrawn="1"/>
        </p:nvPicPr>
        <p:blipFill>
          <a:blip r:embed="rId6" cstate="print"/>
          <a:srcRect/>
          <a:stretch>
            <a:fillRect/>
          </a:stretch>
        </p:blipFill>
        <p:spPr bwMode="auto">
          <a:xfrm>
            <a:off x="323873" y="134939"/>
            <a:ext cx="4203700" cy="1079500"/>
          </a:xfrm>
          <a:prstGeom prst="rect">
            <a:avLst/>
          </a:prstGeom>
          <a:noFill/>
          <a:ln w="9525">
            <a:noFill/>
            <a:miter lim="800000"/>
            <a:headEnd/>
            <a:tailEnd/>
          </a:ln>
        </p:spPr>
      </p:pic>
      <p:sp>
        <p:nvSpPr>
          <p:cNvPr id="5" name="Pladsholder til sidefod 12"/>
          <p:cNvSpPr txBox="1">
            <a:spLocks/>
          </p:cNvSpPr>
          <p:nvPr userDrawn="1"/>
        </p:nvSpPr>
        <p:spPr>
          <a:xfrm>
            <a:off x="4206240" y="6492877"/>
            <a:ext cx="3860800" cy="365125"/>
          </a:xfrm>
          <a:prstGeom prst="rect">
            <a:avLst/>
          </a:prstGeom>
        </p:spPr>
        <p:txBody>
          <a:bodyPr lIns="77921" tIns="38961" rIns="77921" bIns="38961"/>
          <a:lstStyle>
            <a:lvl1pPr algn="ctr">
              <a:defRPr sz="1100">
                <a:solidFill>
                  <a:srgbClr val="FF0000"/>
                </a:solidFill>
              </a:defRPr>
            </a:lvl1pPr>
          </a:lstStyle>
          <a:p>
            <a:pPr defTabSz="389607" fontAlgn="base">
              <a:spcBef>
                <a:spcPct val="0"/>
              </a:spcBef>
              <a:spcAft>
                <a:spcPct val="0"/>
              </a:spcAft>
              <a:defRPr/>
            </a:pPr>
            <a:r>
              <a:rPr lang="da-DK" sz="1100" dirty="0">
                <a:latin typeface="Arial" charset="0"/>
              </a:rPr>
              <a:t>TIL SNÆVER BRUG</a:t>
            </a:r>
          </a:p>
        </p:txBody>
      </p:sp>
    </p:spTree>
    <p:extLst>
      <p:ext uri="{BB962C8B-B14F-4D97-AF65-F5344CB8AC3E}">
        <p14:creationId xmlns:p14="http://schemas.microsoft.com/office/powerpoint/2010/main" val="711133994"/>
      </p:ext>
    </p:extLst>
  </p:cSld>
  <p:clrMapOvr>
    <a:masterClrMapping/>
  </p:clrMapOvr>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Brugerguide">
    <p:spTree>
      <p:nvGrpSpPr>
        <p:cNvPr id="1" name=""/>
        <p:cNvGrpSpPr/>
        <p:nvPr/>
      </p:nvGrpSpPr>
      <p:grpSpPr>
        <a:xfrm>
          <a:off x="0" y="0"/>
          <a:ext cx="0" cy="0"/>
          <a:chOff x="0" y="0"/>
          <a:chExt cx="0" cy="0"/>
        </a:xfrm>
      </p:grpSpPr>
      <p:grpSp>
        <p:nvGrpSpPr>
          <p:cNvPr id="4" name="Gruppe 3"/>
          <p:cNvGrpSpPr/>
          <p:nvPr userDrawn="1"/>
        </p:nvGrpSpPr>
        <p:grpSpPr>
          <a:xfrm>
            <a:off x="2711869" y="1531598"/>
            <a:ext cx="2270603" cy="752595"/>
            <a:chOff x="2033902" y="1483643"/>
            <a:chExt cx="1702952" cy="752595"/>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3902" y="1483643"/>
              <a:ext cx="1702952" cy="752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3902" y="1483643"/>
              <a:ext cx="392170" cy="163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3" name="4 Nulstil"/>
          <p:cNvPicPr>
            <a:picLocks noChangeAspect="1"/>
          </p:cNvPicPr>
          <p:nvPr userDrawn="1"/>
        </p:nvPicPr>
        <p:blipFill>
          <a:blip r:embed="rId4"/>
          <a:stretch>
            <a:fillRect/>
          </a:stretch>
        </p:blipFill>
        <p:spPr>
          <a:xfrm>
            <a:off x="11015138" y="1687102"/>
            <a:ext cx="797220" cy="216114"/>
          </a:xfrm>
          <a:prstGeom prst="rect">
            <a:avLst/>
          </a:prstGeom>
        </p:spPr>
      </p:pic>
      <p:sp>
        <p:nvSpPr>
          <p:cNvPr id="31" name="Text Box 2"/>
          <p:cNvSpPr txBox="1">
            <a:spLocks noChangeArrowheads="1"/>
          </p:cNvSpPr>
          <p:nvPr userDrawn="1"/>
        </p:nvSpPr>
        <p:spPr bwMode="auto">
          <a:xfrm>
            <a:off x="1017885" y="4777875"/>
            <a:ext cx="26342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Sæt den på igen ved at klikke på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p:txBody>
      </p:sp>
      <p:sp>
        <p:nvSpPr>
          <p:cNvPr id="34" name="Text Box 4"/>
          <p:cNvSpPr txBox="1">
            <a:spLocks noChangeArrowheads="1"/>
          </p:cNvSpPr>
          <p:nvPr userDrawn="1"/>
        </p:nvSpPr>
        <p:spPr bwMode="auto">
          <a:xfrm>
            <a:off x="9200051" y="1534013"/>
            <a:ext cx="2338133" cy="393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 typeface="+mj-lt"/>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a:t>
            </a:r>
            <a:b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le slides</a:t>
            </a:r>
            <a:endParaRPr kumimoji="0" 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tast evt. tekst i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se hjælpelinj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 Box 3"/>
          <p:cNvSpPr txBox="1">
            <a:spLocks noChangeArrowheads="1"/>
          </p:cNvSpPr>
          <p:nvPr userDrawn="1"/>
        </p:nvSpPr>
        <p:spPr bwMode="auto">
          <a:xfrm>
            <a:off x="5309364" y="3867007"/>
            <a:ext cx="2881064"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s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ol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u trækker i billedets hjørn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r et nyt, kan billedet lægg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g foran tekst og grafik. Hvis dette sker, højreklik på billed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2" name="2 Ny slide"/>
          <p:cNvPicPr>
            <a:picLocks noChangeAspect="1"/>
          </p:cNvPicPr>
          <p:nvPr userDrawn="1"/>
        </p:nvPicPr>
        <p:blipFill rotWithShape="1">
          <a:blip r:embed="rId5"/>
          <a:srcRect l="2931" r="60888"/>
          <a:stretch/>
        </p:blipFill>
        <p:spPr>
          <a:xfrm>
            <a:off x="7860322" y="2220843"/>
            <a:ext cx="430893" cy="575288"/>
          </a:xfrm>
          <a:prstGeom prst="rect">
            <a:avLst/>
          </a:prstGeom>
        </p:spPr>
      </p:pic>
      <p:sp>
        <p:nvSpPr>
          <p:cNvPr id="9" name="Fast overskrift"/>
          <p:cNvSpPr txBox="1"/>
          <p:nvPr userDrawn="1"/>
        </p:nvSpPr>
        <p:spPr>
          <a:xfrm>
            <a:off x="1007533" y="537448"/>
            <a:ext cx="10641540" cy="650171"/>
          </a:xfrm>
          <a:prstGeom prst="rect">
            <a:avLst/>
          </a:prstGeom>
          <a:noFill/>
        </p:spPr>
        <p:txBody>
          <a:bodyPr wrap="square" lIns="0" tIns="0" rIns="0" bIns="0" rtlCol="0" anchor="b" anchorCtr="0">
            <a:noAutofit/>
          </a:bodyPr>
          <a:lstStyle/>
          <a:p>
            <a:r>
              <a:rPr lang="da-DK" sz="2800" b="0" noProof="1">
                <a:solidFill>
                  <a:schemeClr val="tx1"/>
                </a:solidFill>
                <a:latin typeface="Arial" panose="020B0604020202020204" pitchFamily="34" charset="0"/>
                <a:cs typeface="Arial" panose="020B0604020202020204" pitchFamily="34" charset="0"/>
              </a:rPr>
              <a:t>Brugerguide - Slet før anvendelse</a:t>
            </a:r>
          </a:p>
        </p:txBody>
      </p:sp>
      <p:pic>
        <p:nvPicPr>
          <p:cNvPr id="19" name="3 Layout"/>
          <p:cNvPicPr>
            <a:picLocks noChangeAspect="1"/>
          </p:cNvPicPr>
          <p:nvPr userDrawn="1"/>
        </p:nvPicPr>
        <p:blipFill rotWithShape="1">
          <a:blip r:embed="rId5"/>
          <a:srcRect l="36944" r="2272" b="69429"/>
          <a:stretch/>
        </p:blipFill>
        <p:spPr>
          <a:xfrm>
            <a:off x="7938240" y="2978210"/>
            <a:ext cx="791157" cy="192211"/>
          </a:xfrm>
          <a:prstGeom prst="rect">
            <a:avLst/>
          </a:prstGeom>
        </p:spPr>
      </p:pic>
      <p:pic>
        <p:nvPicPr>
          <p:cNvPr id="26" name="5 Insert picture"/>
          <p:cNvPicPr>
            <a:picLocks noChangeAspect="1"/>
          </p:cNvPicPr>
          <p:nvPr userDrawn="1"/>
        </p:nvPicPr>
        <p:blipFill>
          <a:blip r:embed="rId6"/>
          <a:stretch>
            <a:fillRect/>
          </a:stretch>
        </p:blipFill>
        <p:spPr>
          <a:xfrm>
            <a:off x="7909777" y="4060101"/>
            <a:ext cx="349535" cy="256054"/>
          </a:xfrm>
          <a:prstGeom prst="rect">
            <a:avLst/>
          </a:prstGeom>
        </p:spPr>
      </p:pic>
      <p:pic>
        <p:nvPicPr>
          <p:cNvPr id="27" name="6 Crop"/>
          <p:cNvPicPr>
            <a:picLocks noChangeAspect="1"/>
          </p:cNvPicPr>
          <p:nvPr userDrawn="1"/>
        </p:nvPicPr>
        <p:blipFill>
          <a:blip r:embed="rId7"/>
          <a:stretch>
            <a:fillRect/>
          </a:stretch>
        </p:blipFill>
        <p:spPr>
          <a:xfrm>
            <a:off x="7883952" y="4690103"/>
            <a:ext cx="449867" cy="321707"/>
          </a:xfrm>
          <a:prstGeom prst="rect">
            <a:avLst/>
          </a:prstGeom>
        </p:spPr>
      </p:pic>
      <p:pic>
        <p:nvPicPr>
          <p:cNvPr id="30" name="7 Scale picture"/>
          <p:cNvPicPr>
            <a:picLocks noChangeAspect="1"/>
          </p:cNvPicPr>
          <p:nvPr userDrawn="1"/>
        </p:nvPicPr>
        <p:blipFill>
          <a:blip r:embed="rId8"/>
          <a:stretch>
            <a:fillRect/>
          </a:stretch>
        </p:blipFill>
        <p:spPr>
          <a:xfrm>
            <a:off x="7854226" y="5042808"/>
            <a:ext cx="479593" cy="335309"/>
          </a:xfrm>
          <a:prstGeom prst="rect">
            <a:avLst/>
          </a:prstGeom>
        </p:spPr>
      </p:pic>
      <p:pic>
        <p:nvPicPr>
          <p:cNvPr id="18" name="1 Increase decrease"/>
          <p:cNvPicPr>
            <a:picLocks noChangeAspect="1"/>
          </p:cNvPicPr>
          <p:nvPr userDrawn="1"/>
        </p:nvPicPr>
        <p:blipFill>
          <a:blip r:embed="rId9"/>
          <a:stretch>
            <a:fillRect/>
          </a:stretch>
        </p:blipFill>
        <p:spPr>
          <a:xfrm>
            <a:off x="7718324" y="1451093"/>
            <a:ext cx="732437" cy="285228"/>
          </a:xfrm>
          <a:prstGeom prst="rect">
            <a:avLst/>
          </a:prstGeom>
        </p:spPr>
      </p:pic>
      <p:pic>
        <p:nvPicPr>
          <p:cNvPr id="2" name="Billede 1">
            <a:extLst>
              <a:ext uri="{FF2B5EF4-FFF2-40B4-BE49-F238E27FC236}">
                <a16:creationId xmlns:a16="http://schemas.microsoft.com/office/drawing/2014/main" id="{17A05245-804A-4B20-8BB9-31D66D06C1F2}"/>
              </a:ext>
            </a:extLst>
          </p:cNvPr>
          <p:cNvPicPr>
            <a:picLocks noChangeAspect="1"/>
          </p:cNvPicPr>
          <p:nvPr userDrawn="1"/>
        </p:nvPicPr>
        <p:blipFill>
          <a:blip r:embed="rId10"/>
          <a:stretch>
            <a:fillRect/>
          </a:stretch>
        </p:blipFill>
        <p:spPr>
          <a:xfrm>
            <a:off x="3567330" y="5920445"/>
            <a:ext cx="430893" cy="234298"/>
          </a:xfrm>
          <a:prstGeom prst="rect">
            <a:avLst/>
          </a:prstGeom>
        </p:spPr>
      </p:pic>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1003300" y="1535094"/>
            <a:ext cx="2870761"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rveskem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ellem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1 – FMN (default)</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2 – FSV</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3 – Afdæmpede farver</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logo på hvert sli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logo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billed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det rigtige logo.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Kopier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C) det nye indsatte logo, klik på det gamle logo på et slide af gangen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V)</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farve på lodret streg i foot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stregen og vælg ny farve under linjefarve</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 Box 2"/>
          <p:cNvSpPr txBox="1">
            <a:spLocks noChangeArrowheads="1"/>
          </p:cNvSpPr>
          <p:nvPr userDrawn="1"/>
        </p:nvSpPr>
        <p:spPr bwMode="auto">
          <a:xfrm>
            <a:off x="5309364" y="2014798"/>
            <a:ext cx="2634200" cy="158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Sli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p:txBody>
      </p:sp>
      <p:sp>
        <p:nvSpPr>
          <p:cNvPr id="24" name="Text Box 2"/>
          <p:cNvSpPr txBox="1">
            <a:spLocks noChangeArrowheads="1"/>
          </p:cNvSpPr>
          <p:nvPr userDrawn="1"/>
        </p:nvSpPr>
        <p:spPr bwMode="auto">
          <a:xfrm>
            <a:off x="5304040" y="1540673"/>
            <a:ext cx="26342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listeniveau bruges</a:t>
            </a:r>
          </a:p>
        </p:txBody>
      </p:sp>
      <p:cxnSp>
        <p:nvCxnSpPr>
          <p:cNvPr id="5" name="Straight Connector 4"/>
          <p:cNvCxnSpPr/>
          <p:nvPr userDrawn="1"/>
        </p:nvCxnSpPr>
        <p:spPr>
          <a:xfrm>
            <a:off x="656493" y="1535093"/>
            <a:ext cx="132102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3345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5110301B-3B31-4B56-9E1F-832A10663A8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2" name="Title 1"/>
          <p:cNvSpPr>
            <a:spLocks noGrp="1"/>
          </p:cNvSpPr>
          <p:nvPr>
            <p:ph type="ctrTitle" hasCustomPrompt="1"/>
          </p:nvPr>
        </p:nvSpPr>
        <p:spPr>
          <a:xfrm>
            <a:off x="784490" y="3701880"/>
            <a:ext cx="5294103" cy="1161600"/>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7" y="4983982"/>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E558046F-5E7B-4A71-AFB2-11F01DC984B5}"/>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8235989-6762-4643-ADA7-7005D9423B90}"/>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A8DB971-E5E2-4E82-A12E-139EED6B92EF}"/>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07AA1EBD-B06C-423F-B538-CB805F73589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D4464FB6-1490-4B85-BBB8-63428B1B327C}"/>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F800B52-2A35-4FFC-9C8B-76F363266A6C}"/>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25468203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9FF860F-A545-4DC6-BF34-8D4703B61D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0" y="1928817"/>
            <a:ext cx="105977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2"/>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4BD3AA7C-8B55-44CA-8D08-186F00A7103D}"/>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EDABA1A0-E959-4CA9-BAE8-C690EC7FFB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0ABD11A8-EF76-4789-85FF-FEBBDF1E0663}"/>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123508D-BC89-4677-B65F-929D9A828E8F}"/>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15DD55F3-CBAD-4620-86CE-92FB3BC996AB}"/>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803B857-39A5-4FEE-B366-F7C954DFCE94}"/>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20356133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0612CFF6-5028-44F6-976B-BC2633367D5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F12A8DD0-75A4-4B0E-844E-019FDF4F0D9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B6D74E47-60F1-43B5-9AD9-7694C305353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D8B4CAC5-CA9A-4E04-88EE-1A57ACD12B6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C9415BA-2B16-481B-BEDD-523C8C3D0131}"/>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1DC2F2F2-6981-4BBA-BD92-550491AA8F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BC2138B7-E8A4-495D-B720-02796C51E0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3317802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4" y="1152001"/>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1"/>
            <a:ext cx="758512"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9" y="1925482"/>
            <a:ext cx="1630015"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6" y="1925482"/>
            <a:ext cx="5421137"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37A07B4A-3944-49E7-A4E5-44887765CA4B}"/>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F15DA75A-63B3-4138-A7CD-B876398305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51D715B-E99C-4D87-9E19-ECE57865FB35}"/>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1C0146A7-354A-4D5C-9E12-470665487CA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BF380BEC-F9E4-44FD-BE37-4CE98C69BBB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9369818-45E9-48FB-B30B-C4F3BE518C6A}"/>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6" y="6319767"/>
            <a:ext cx="45731"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0FF15FFF-5349-4A6E-9284-71056EFBB0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5674413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5" y="1152001"/>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4"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5" y="5454664"/>
            <a:ext cx="10593959"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F3D6C4D7-2182-4D2E-98E7-17C54D911F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23928120-F7AD-4132-B2D1-885537200377}"/>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B371D97-D4DB-46B4-8D78-9B05B3ED1EC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2F5B903-D8AA-4473-AD0F-237D3B3B8B1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88789C0D-CC71-41BE-9C10-0DE1D4BC48B0}"/>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5E91C6A-48DB-404A-9963-E3363BD8E67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89C4CBF-111F-4EEF-A16E-C5CC093A4E8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35089901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5" y="2075383"/>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1" y="1150634"/>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6A8EBF36-AD3D-4B28-95DD-8939EA379A20}"/>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B1FB3350-BF67-4DA5-AFEA-BE4C1CDD9C4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93A96B2-009D-4F7A-8B06-2A1E3ED8870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141C9443-BA4F-49A8-BCBC-4970459A3022}"/>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B00D538-4C54-41A4-9B68-1DF3FD1EC57E}"/>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488013D-A966-4713-90CC-A37DFE03B8F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r>
              <a:rPr lang="da-DK" dirty="0"/>
              <a:t>Operations- og føringsuddannelse</a:t>
            </a: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6A2122B-2FCD-4205-96C0-18616546D0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722016979"/>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5383"/>
            <a:ext cx="5033754"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1"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AAC6E81A-7D70-4FEA-ACE9-06ADBF7D4632}"/>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50BEB9C-150C-4318-AB1C-ECB7AD1B834E}"/>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476D5BF2-5E9B-47D8-A511-355E03129BA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ECC22FB5-7706-4B22-9D8F-130422D7802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F16197A-4969-40C1-9FF4-BA90D93AE616}"/>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C97C2E3F-C178-460F-9211-EE15E734A9F1}"/>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2B690131-8682-4F8C-8B22-DDB9CBBC2AA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455229186"/>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5" y="1871673"/>
            <a:ext cx="108451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3896294"/>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5" y="6450430"/>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4" y="660818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4100699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7200"/>
            <a:ext cx="5033222"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4"/>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6"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012B17DA-CFE1-4F96-8ACC-65C2A80967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86A6329-B153-47C0-A6B7-88CFD2F8151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FF9580EF-7326-4577-A1C8-30703DBAE92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1540157-CAD4-45BB-A494-D642ADCEB96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B378486-A6C7-42D6-8B03-78E8EF0F7C2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09F1F8A-D9FD-4423-8697-0137EF115DC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762512F1-8192-4B00-9C7F-D2B2A3315B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599711751"/>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5" y="786306"/>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1" y="3666199"/>
            <a:ext cx="2524782"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A89810C5-A12C-4C0B-AB0F-E370E16A136A}"/>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D2F25F0-9D7E-4A0D-A297-72D04E7AFB8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AAAD6BAE-EEF8-4BA1-BD7F-603960C97339}"/>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CFDEAE3-8EFE-4991-976C-6E7B53501B8E}"/>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5CDA0B1-D595-4DDC-8784-FC04056BF99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F9AC1B8-B44F-432B-940B-ED7C8C9C8FF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29DDD414-473A-40C6-8D71-09F4132F9B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941539348"/>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5"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539C7357-0763-4F5F-852E-C79662098CD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E1677E23-0BCB-4B43-9EC7-F6A8C55CDE1C}"/>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9A8BE360-1F51-4886-B516-2C9E248B063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306F40D9-E883-4591-9BB2-53B2FB8DDE4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72E18CC4-CBE6-4917-835D-E39EF908B2B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1C4ADBE0-2FC6-4901-83F1-F6F6C5424E0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B9536424-6059-4015-A641-91AE1D93A39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3632397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D52E9B85-AD1B-4BF4-B785-EE449AB2D3E4}"/>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2363F0E7-1401-4D46-B61E-04B2A57927F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EB6F3F16-8CA5-44C3-86CB-22D23EF7E1DA}"/>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C500833E-1F69-4708-A593-65CDD0514FC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C403A39A-5C2C-478B-A633-4C3BF256DD6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BB065B0-9068-4F01-A9C2-1C1D8766EE10}"/>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BA0295FC-1F3A-4FE5-A226-522EEF4310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42611630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0"/>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4"/>
            <a:ext cx="288000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A341E85D-A666-4A4C-8890-D74D58046B1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1A0D38EB-5C11-48F2-8A6C-60A10B7F075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D98296BF-84B9-4F48-B0CD-AD253331071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ED37C21B-F4CF-40C9-9395-43DEEF372B73}"/>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772CFEF8-8F57-4ED9-812C-1580BCFF95E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82A36E98-8BE9-4D59-B6B7-D7964BE3D6DB}"/>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fld id="{CDDADBF2-AF97-44F7-AB18-97D454ABE463}" type="datetime2">
              <a:rPr lang="da-DK" smtClean="0"/>
              <a:pPr/>
              <a:t>4. februar 2025</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17" name="LogoEnd">
            <a:extLst>
              <a:ext uri="{FF2B5EF4-FFF2-40B4-BE49-F238E27FC236}">
                <a16:creationId xmlns:a16="http://schemas.microsoft.com/office/drawing/2014/main" id="{D938A296-E57A-445D-ADDF-941A5DFB3C5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7548" y="4653650"/>
            <a:ext cx="3506953" cy="553826"/>
          </a:xfrm>
          <a:prstGeom prst="rect">
            <a:avLst/>
          </a:prstGeom>
        </p:spPr>
      </p:pic>
    </p:spTree>
    <p:extLst>
      <p:ext uri="{BB962C8B-B14F-4D97-AF65-F5344CB8AC3E}">
        <p14:creationId xmlns:p14="http://schemas.microsoft.com/office/powerpoint/2010/main" val="10887426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24" name="Logo">
            <a:extLst>
              <a:ext uri="{FF2B5EF4-FFF2-40B4-BE49-F238E27FC236}">
                <a16:creationId xmlns:a16="http://schemas.microsoft.com/office/drawing/2014/main" id="{E69CF967-9CAF-418A-BF04-B77515C7A84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
        <p:nvSpPr>
          <p:cNvPr id="26" name="Fast overskrift">
            <a:extLst>
              <a:ext uri="{FF2B5EF4-FFF2-40B4-BE49-F238E27FC236}">
                <a16:creationId xmlns:a16="http://schemas.microsoft.com/office/drawing/2014/main" id="{D49FBF11-8559-475C-B380-4DD69C3FD9FB}"/>
              </a:ext>
            </a:extLst>
          </p:cNvPr>
          <p:cNvSpPr txBox="1"/>
          <p:nvPr userDrawn="1"/>
        </p:nvSpPr>
        <p:spPr>
          <a:xfrm>
            <a:off x="801897" y="869068"/>
            <a:ext cx="10641540" cy="650171"/>
          </a:xfrm>
          <a:prstGeom prst="rect">
            <a:avLst/>
          </a:prstGeom>
          <a:noFill/>
        </p:spPr>
        <p:txBody>
          <a:bodyPr wrap="square" lIns="0" tIns="0" rIns="0" bIns="0" rtlCol="0" anchor="t"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33" name="Text Box 3">
            <a:extLst>
              <a:ext uri="{FF2B5EF4-FFF2-40B4-BE49-F238E27FC236}">
                <a16:creationId xmlns:a16="http://schemas.microsoft.com/office/drawing/2014/main" id="{44B0772F-D514-483B-B717-FBFFEB875B26}"/>
              </a:ext>
            </a:extLst>
          </p:cNvPr>
          <p:cNvSpPr txBox="1">
            <a:spLocks noChangeArrowheads="1"/>
          </p:cNvSpPr>
          <p:nvPr userDrawn="1"/>
        </p:nvSpPr>
        <p:spPr bwMode="auto">
          <a:xfrm>
            <a:off x="801897" y="1762720"/>
            <a:ext cx="2945573"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415" rtl="0" eaLnBrk="1" fontAlgn="auto" latinLnBrk="0" hangingPunct="1">
              <a:lnSpc>
                <a:spcPct val="100000"/>
              </a:lnSpc>
              <a:spcBef>
                <a:spcPts val="60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dias i venstre side (Ctrl+A)</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over</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væl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dias</a:t>
            </a: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temafarv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alle dias</a:t>
            </a:r>
          </a:p>
          <a:p>
            <a:pPr marL="0" marR="0" lvl="0" indent="0" algn="l" defTabSz="914415" rtl="0" eaLnBrk="1" fontAlgn="auto" latinLnBrk="0" hangingPunct="1">
              <a:lnSpc>
                <a:spcPct val="100000"/>
              </a:lnSpc>
              <a:spcBef>
                <a:spcPts val="0"/>
              </a:spcBef>
              <a:spcAft>
                <a:spcPts val="12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15" rtl="0" eaLnBrk="1" fontAlgn="auto" latinLnBrk="0" hangingPunct="1">
              <a:lnSpc>
                <a:spcPct val="100000"/>
              </a:lnSpc>
              <a:spcBef>
                <a:spcPts val="0"/>
              </a:spcBef>
              <a:spcAft>
                <a:spcPts val="12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er kan vi skrive noget mere</a:t>
            </a:r>
          </a:p>
        </p:txBody>
      </p:sp>
      <p:pic>
        <p:nvPicPr>
          <p:cNvPr id="45" name="Picture 44">
            <a:extLst>
              <a:ext uri="{FF2B5EF4-FFF2-40B4-BE49-F238E27FC236}">
                <a16:creationId xmlns:a16="http://schemas.microsoft.com/office/drawing/2014/main" id="{AE6C4B29-18A4-42FA-9614-72FBECCB180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45190" y="2284374"/>
            <a:ext cx="489935" cy="187279"/>
          </a:xfrm>
          <a:prstGeom prst="rect">
            <a:avLst/>
          </a:prstGeom>
        </p:spPr>
      </p:pic>
      <p:grpSp>
        <p:nvGrpSpPr>
          <p:cNvPr id="46" name="Group 45">
            <a:extLst>
              <a:ext uri="{FF2B5EF4-FFF2-40B4-BE49-F238E27FC236}">
                <a16:creationId xmlns:a16="http://schemas.microsoft.com/office/drawing/2014/main" id="{09876479-5C12-456C-97BC-D4A3603EBDD0}"/>
              </a:ext>
            </a:extLst>
          </p:cNvPr>
          <p:cNvGrpSpPr/>
          <p:nvPr userDrawn="1"/>
        </p:nvGrpSpPr>
        <p:grpSpPr>
          <a:xfrm>
            <a:off x="2980317" y="3510088"/>
            <a:ext cx="1127296" cy="296229"/>
            <a:chOff x="3102472" y="2807695"/>
            <a:chExt cx="1127002" cy="296229"/>
          </a:xfrm>
        </p:grpSpPr>
        <p:pic>
          <p:nvPicPr>
            <p:cNvPr id="47" name="Picture 46">
              <a:extLst>
                <a:ext uri="{FF2B5EF4-FFF2-40B4-BE49-F238E27FC236}">
                  <a16:creationId xmlns:a16="http://schemas.microsoft.com/office/drawing/2014/main" id="{130DDDCC-88FF-4C66-AFB7-3D8A3506FFC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102472" y="2807695"/>
              <a:ext cx="1127002" cy="296229"/>
            </a:xfrm>
            <a:prstGeom prst="rect">
              <a:avLst/>
            </a:prstGeom>
          </p:spPr>
        </p:pic>
        <p:sp>
          <p:nvSpPr>
            <p:cNvPr id="48" name="Rectangle 47">
              <a:extLst>
                <a:ext uri="{FF2B5EF4-FFF2-40B4-BE49-F238E27FC236}">
                  <a16:creationId xmlns:a16="http://schemas.microsoft.com/office/drawing/2014/main" id="{DF5CF461-D479-45D7-BC3C-ECBE2983B565}"/>
                </a:ext>
              </a:extLst>
            </p:cNvPr>
            <p:cNvSpPr/>
            <p:nvPr userDrawn="1"/>
          </p:nvSpPr>
          <p:spPr>
            <a:xfrm>
              <a:off x="3156959" y="2822366"/>
              <a:ext cx="723337" cy="1457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GB" sz="1200" noProof="0" dirty="0" err="1"/>
            </a:p>
          </p:txBody>
        </p:sp>
      </p:grpSp>
      <p:grpSp>
        <p:nvGrpSpPr>
          <p:cNvPr id="49" name="Group 48">
            <a:extLst>
              <a:ext uri="{FF2B5EF4-FFF2-40B4-BE49-F238E27FC236}">
                <a16:creationId xmlns:a16="http://schemas.microsoft.com/office/drawing/2014/main" id="{28A5B27E-7D0E-4276-807F-3F37DC90DC79}"/>
              </a:ext>
            </a:extLst>
          </p:cNvPr>
          <p:cNvGrpSpPr/>
          <p:nvPr userDrawn="1"/>
        </p:nvGrpSpPr>
        <p:grpSpPr>
          <a:xfrm>
            <a:off x="785931" y="2890269"/>
            <a:ext cx="3477224" cy="340348"/>
            <a:chOff x="821551" y="2392335"/>
            <a:chExt cx="3476318" cy="340348"/>
          </a:xfrm>
        </p:grpSpPr>
        <p:pic>
          <p:nvPicPr>
            <p:cNvPr id="50" name="Picture 49">
              <a:extLst>
                <a:ext uri="{FF2B5EF4-FFF2-40B4-BE49-F238E27FC236}">
                  <a16:creationId xmlns:a16="http://schemas.microsoft.com/office/drawing/2014/main" id="{DB1ED320-06C5-40A0-BC33-725FB35466E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21551" y="2392335"/>
              <a:ext cx="3456994" cy="226621"/>
            </a:xfrm>
            <a:prstGeom prst="rect">
              <a:avLst/>
            </a:prstGeom>
          </p:spPr>
        </p:pic>
        <p:sp>
          <p:nvSpPr>
            <p:cNvPr id="51" name="Tekstfelt 2">
              <a:extLst>
                <a:ext uri="{FF2B5EF4-FFF2-40B4-BE49-F238E27FC236}">
                  <a16:creationId xmlns:a16="http://schemas.microsoft.com/office/drawing/2014/main" id="{36D8054D-96C7-4682-AD87-ABCD12D3300F}"/>
                </a:ext>
              </a:extLst>
            </p:cNvPr>
            <p:cNvSpPr txBox="1"/>
            <p:nvPr userDrawn="1"/>
          </p:nvSpPr>
          <p:spPr>
            <a:xfrm>
              <a:off x="852136" y="2617267"/>
              <a:ext cx="3445733" cy="115416"/>
            </a:xfrm>
            <a:prstGeom prst="rect">
              <a:avLst/>
            </a:prstGeom>
            <a:noFill/>
          </p:spPr>
          <p:txBody>
            <a:bodyPr wrap="square" lIns="0" tIns="0" rIns="0" bIns="0" rtlCol="0">
              <a:spAutoFit/>
            </a:bodyPr>
            <a:lstStyle/>
            <a:p>
              <a:pPr>
                <a:lnSpc>
                  <a:spcPct val="125000"/>
                </a:lnSpc>
                <a:tabLst>
                  <a:tab pos="374650" algn="l"/>
                  <a:tab pos="762000" algn="l"/>
                  <a:tab pos="1141413" algn="l"/>
                  <a:tab pos="1524000" algn="l"/>
                  <a:tab pos="1911350" algn="l"/>
                  <a:tab pos="2293938" algn="l"/>
                  <a:tab pos="2676525" algn="l"/>
                  <a:tab pos="3059113" algn="l"/>
                </a:tabLst>
              </a:pPr>
              <a:r>
                <a:rPr lang="da-DK" sz="600" dirty="0"/>
                <a:t>FMN	FKO	HJV	BRS	FMI	FPS	FES	FRS	FAUK</a:t>
              </a:r>
            </a:p>
          </p:txBody>
        </p:sp>
      </p:grpSp>
      <p:grpSp>
        <p:nvGrpSpPr>
          <p:cNvPr id="52" name="Group 51">
            <a:extLst>
              <a:ext uri="{FF2B5EF4-FFF2-40B4-BE49-F238E27FC236}">
                <a16:creationId xmlns:a16="http://schemas.microsoft.com/office/drawing/2014/main" id="{114BFFB9-2356-40E0-A78B-67631BFFC972}"/>
              </a:ext>
            </a:extLst>
          </p:cNvPr>
          <p:cNvGrpSpPr/>
          <p:nvPr userDrawn="1"/>
        </p:nvGrpSpPr>
        <p:grpSpPr>
          <a:xfrm>
            <a:off x="4668854" y="1762720"/>
            <a:ext cx="3665858" cy="2176646"/>
            <a:chOff x="5381233" y="1527329"/>
            <a:chExt cx="3664903" cy="2176646"/>
          </a:xfrm>
        </p:grpSpPr>
        <p:sp>
          <p:nvSpPr>
            <p:cNvPr id="53" name="Text Box 3">
              <a:extLst>
                <a:ext uri="{FF2B5EF4-FFF2-40B4-BE49-F238E27FC236}">
                  <a16:creationId xmlns:a16="http://schemas.microsoft.com/office/drawing/2014/main" id="{F280D371-25C7-48EC-A573-09CACF22297D}"/>
                </a:ext>
              </a:extLst>
            </p:cNvPr>
            <p:cNvSpPr txBox="1">
              <a:spLocks noChangeArrowheads="1"/>
            </p:cNvSpPr>
            <p:nvPr userDrawn="1"/>
          </p:nvSpPr>
          <p:spPr bwMode="auto">
            <a:xfrm>
              <a:off x="5381233" y="1527329"/>
              <a:ext cx="2944806" cy="201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mærke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ias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det øverste layout</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let på øverste layou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fang den hvide boks </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uk mastervisning</a:t>
              </a:r>
            </a:p>
          </p:txBody>
        </p:sp>
        <p:grpSp>
          <p:nvGrpSpPr>
            <p:cNvPr id="54" name="Group 53">
              <a:extLst>
                <a:ext uri="{FF2B5EF4-FFF2-40B4-BE49-F238E27FC236}">
                  <a16:creationId xmlns:a16="http://schemas.microsoft.com/office/drawing/2014/main" id="{01F97269-9E4F-491F-99CB-B01B6C5A9CE4}"/>
                </a:ext>
              </a:extLst>
            </p:cNvPr>
            <p:cNvGrpSpPr/>
            <p:nvPr userDrawn="1"/>
          </p:nvGrpSpPr>
          <p:grpSpPr>
            <a:xfrm>
              <a:off x="7927469" y="1787686"/>
              <a:ext cx="990005" cy="645919"/>
              <a:chOff x="3710542" y="3551931"/>
              <a:chExt cx="990005" cy="645919"/>
            </a:xfrm>
          </p:grpSpPr>
          <p:pic>
            <p:nvPicPr>
              <p:cNvPr id="59" name="Billede 11">
                <a:extLst>
                  <a:ext uri="{FF2B5EF4-FFF2-40B4-BE49-F238E27FC236}">
                    <a16:creationId xmlns:a16="http://schemas.microsoft.com/office/drawing/2014/main" id="{036971A2-86DD-4DD1-BE4F-B291BE7EE4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753218" y="3570199"/>
                <a:ext cx="893228" cy="627651"/>
              </a:xfrm>
              <a:prstGeom prst="rect">
                <a:avLst/>
              </a:prstGeom>
            </p:spPr>
          </p:pic>
          <p:sp>
            <p:nvSpPr>
              <p:cNvPr id="60" name="Rektangel 12">
                <a:extLst>
                  <a:ext uri="{FF2B5EF4-FFF2-40B4-BE49-F238E27FC236}">
                    <a16:creationId xmlns:a16="http://schemas.microsoft.com/office/drawing/2014/main" id="{A03DDA49-F5A0-4455-9E15-93600150D9B9}"/>
                  </a:ext>
                </a:extLst>
              </p:cNvPr>
              <p:cNvSpPr/>
              <p:nvPr userDrawn="1"/>
            </p:nvSpPr>
            <p:spPr>
              <a:xfrm>
                <a:off x="3710542" y="3551931"/>
                <a:ext cx="990005" cy="52794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grpSp>
          <p:nvGrpSpPr>
            <p:cNvPr id="55" name="Group 54">
              <a:extLst>
                <a:ext uri="{FF2B5EF4-FFF2-40B4-BE49-F238E27FC236}">
                  <a16:creationId xmlns:a16="http://schemas.microsoft.com/office/drawing/2014/main" id="{12DA9BE6-2980-4876-BDD8-38B70336ABD2}"/>
                </a:ext>
              </a:extLst>
            </p:cNvPr>
            <p:cNvGrpSpPr/>
            <p:nvPr userDrawn="1"/>
          </p:nvGrpSpPr>
          <p:grpSpPr>
            <a:xfrm>
              <a:off x="7911668" y="2700685"/>
              <a:ext cx="1134468" cy="494511"/>
              <a:chOff x="3621866" y="4263733"/>
              <a:chExt cx="1134468" cy="494511"/>
            </a:xfrm>
          </p:grpSpPr>
          <p:pic>
            <p:nvPicPr>
              <p:cNvPr id="57" name="Billede 13">
                <a:extLst>
                  <a:ext uri="{FF2B5EF4-FFF2-40B4-BE49-F238E27FC236}">
                    <a16:creationId xmlns:a16="http://schemas.microsoft.com/office/drawing/2014/main" id="{E5D26F40-3C2E-4D3C-B06A-77DE795ED36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4162" t="-10959" b="-1"/>
              <a:stretch/>
            </p:blipFill>
            <p:spPr>
              <a:xfrm>
                <a:off x="3621866" y="4263733"/>
                <a:ext cx="1134468" cy="494511"/>
              </a:xfrm>
              <a:prstGeom prst="rect">
                <a:avLst/>
              </a:prstGeom>
            </p:spPr>
          </p:pic>
          <p:sp>
            <p:nvSpPr>
              <p:cNvPr id="58" name="Rektangel 32">
                <a:extLst>
                  <a:ext uri="{FF2B5EF4-FFF2-40B4-BE49-F238E27FC236}">
                    <a16:creationId xmlns:a16="http://schemas.microsoft.com/office/drawing/2014/main" id="{9853F4BB-F4D1-406C-864B-AB42778A897D}"/>
                  </a:ext>
                </a:extLst>
              </p:cNvPr>
              <p:cNvSpPr/>
              <p:nvPr userDrawn="1"/>
            </p:nvSpPr>
            <p:spPr>
              <a:xfrm>
                <a:off x="4090685" y="4263733"/>
                <a:ext cx="472736"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pic>
          <p:nvPicPr>
            <p:cNvPr id="56" name="Picture 55">
              <a:extLst>
                <a:ext uri="{FF2B5EF4-FFF2-40B4-BE49-F238E27FC236}">
                  <a16:creationId xmlns:a16="http://schemas.microsoft.com/office/drawing/2014/main" id="{66F55DD3-6F60-4689-8C43-802F50E834FA}"/>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7914121" y="3261079"/>
              <a:ext cx="516090" cy="442896"/>
            </a:xfrm>
            <a:prstGeom prst="rect">
              <a:avLst/>
            </a:prstGeom>
          </p:spPr>
        </p:pic>
      </p:grpSp>
      <p:sp>
        <p:nvSpPr>
          <p:cNvPr id="61" name="Text Box 3">
            <a:extLst>
              <a:ext uri="{FF2B5EF4-FFF2-40B4-BE49-F238E27FC236}">
                <a16:creationId xmlns:a16="http://schemas.microsoft.com/office/drawing/2014/main" id="{BF3CECA7-6525-4B2A-A938-A4633E6795EC}"/>
              </a:ext>
            </a:extLst>
          </p:cNvPr>
          <p:cNvSpPr txBox="1">
            <a:spLocks noChangeArrowheads="1"/>
          </p:cNvSpPr>
          <p:nvPr userDrawn="1"/>
        </p:nvSpPr>
        <p:spPr bwMode="auto">
          <a:xfrm>
            <a:off x="4668853" y="4085834"/>
            <a:ext cx="3698736" cy="204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nSpc>
                <a:spcPct val="125000"/>
              </a:lnSpc>
              <a:spcAft>
                <a:spcPts val="600"/>
              </a:spcAft>
            </a:pPr>
            <a:r>
              <a:rPr lang="da-DK" sz="900" b="1" i="0" kern="1200" dirty="0">
                <a:solidFill>
                  <a:schemeClr val="tx1"/>
                </a:solidFill>
                <a:effectLst/>
                <a:latin typeface="Arial" panose="020B0604020202020204" pitchFamily="34" charset="0"/>
                <a:ea typeface="+mn-ea"/>
                <a:cs typeface="Arial" panose="020B0604020202020204" pitchFamily="34" charset="0"/>
              </a:rPr>
              <a:t>Hvis mærket bliver meget lille</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PowerPoint skabelonen er designet så indsatte myndighedsmærker bliver maks. 1,17 cm højt og/eller maks. 1,1 cm bredt, svarende til højden på stregen eller at det får plads mellem stregen og dias nr. Dette for at sikre et ensartet udtryk. </a:t>
            </a:r>
          </a:p>
          <a:p>
            <a:pPr>
              <a:lnSpc>
                <a:spcPct val="125000"/>
              </a:lnSpc>
              <a:spcAft>
                <a:spcPts val="600"/>
              </a:spcAft>
            </a:pPr>
            <a:r>
              <a:rPr lang="da-DK" sz="900" i="0" kern="1200" dirty="0">
                <a:solidFill>
                  <a:schemeClr val="tx1"/>
                </a:solidFill>
                <a:effectLst/>
                <a:latin typeface="Arial" panose="020B0604020202020204" pitchFamily="34" charset="0"/>
                <a:ea typeface="+mn-ea"/>
                <a:cs typeface="Arial" panose="020B0604020202020204" pitchFamily="34" charset="0"/>
              </a:rPr>
              <a:t>Da mærkerne er forskellige i form og størrelse, kan det dog ikke undgås, at de fremstår forskelligt. Hvis du oplever at det indsatte mærke fremstår meget småt, kan du evt. forstørre det manuelt ved at holde SHIFT nede og trække i et af mærkets hjørne, så det passer nogenlunde til højden på den lodrette streg eller får plads på bredden mellem stregen og dias nr.</a:t>
            </a:r>
            <a:endParaRPr lang="en-GB" sz="900" i="0" dirty="0" err="1">
              <a:latin typeface="Arial" panose="020B0604020202020204" pitchFamily="34" charset="0"/>
              <a:cs typeface="Arial" panose="020B0604020202020204" pitchFamily="34" charset="0"/>
            </a:endParaRPr>
          </a:p>
        </p:txBody>
      </p:sp>
      <p:cxnSp>
        <p:nvCxnSpPr>
          <p:cNvPr id="62" name="Straight Connector 61">
            <a:extLst>
              <a:ext uri="{FF2B5EF4-FFF2-40B4-BE49-F238E27FC236}">
                <a16:creationId xmlns:a16="http://schemas.microsoft.com/office/drawing/2014/main" id="{A5AB1DD3-8D67-40C1-8691-FC593E6BBF6D}"/>
              </a:ext>
            </a:extLst>
          </p:cNvPr>
          <p:cNvCxnSpPr/>
          <p:nvPr userDrawn="1"/>
        </p:nvCxnSpPr>
        <p:spPr>
          <a:xfrm>
            <a:off x="4403748"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Box 3">
            <a:extLst>
              <a:ext uri="{FF2B5EF4-FFF2-40B4-BE49-F238E27FC236}">
                <a16:creationId xmlns:a16="http://schemas.microsoft.com/office/drawing/2014/main" id="{FE5AD694-572D-406F-ADEE-10F79246A489}"/>
              </a:ext>
            </a:extLst>
          </p:cNvPr>
          <p:cNvSpPr txBox="1">
            <a:spLocks noChangeArrowheads="1"/>
          </p:cNvSpPr>
          <p:nvPr userDrawn="1"/>
        </p:nvSpPr>
        <p:spPr bwMode="auto">
          <a:xfrm>
            <a:off x="8874943" y="1757533"/>
            <a:ext cx="2945573"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eller strukturfyld</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billede</a:t>
            </a:r>
          </a:p>
          <a:p>
            <a:pPr marL="0" marR="0" lvl="0" indent="0" algn="l" defTabSz="914415" rtl="0" eaLnBrk="1" fontAlgn="auto" latinLnBrk="0" hangingPunct="1">
              <a:lnSpc>
                <a:spcPct val="100000"/>
              </a:lnSpc>
              <a:spcBef>
                <a:spcPts val="6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5.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cxnSp>
        <p:nvCxnSpPr>
          <p:cNvPr id="64" name="Straight Connector 63">
            <a:extLst>
              <a:ext uri="{FF2B5EF4-FFF2-40B4-BE49-F238E27FC236}">
                <a16:creationId xmlns:a16="http://schemas.microsoft.com/office/drawing/2014/main" id="{F4D3AE42-95D5-4279-910A-8B0A7F587170}"/>
              </a:ext>
            </a:extLst>
          </p:cNvPr>
          <p:cNvCxnSpPr/>
          <p:nvPr userDrawn="1"/>
        </p:nvCxnSpPr>
        <p:spPr>
          <a:xfrm>
            <a:off x="8604827" y="1716896"/>
            <a:ext cx="0" cy="4376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2415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Kun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her for at tilføje en titel</a:t>
            </a:r>
          </a:p>
        </p:txBody>
      </p:sp>
      <p:sp>
        <p:nvSpPr>
          <p:cNvPr id="12" name="Tjenestebrug">
            <a:extLst>
              <a:ext uri="{FF2B5EF4-FFF2-40B4-BE49-F238E27FC236}">
                <a16:creationId xmlns:a16="http://schemas.microsoft.com/office/drawing/2014/main" id="{D1868055-18E6-40E8-B805-B82F14A9584C}"/>
              </a:ext>
            </a:extLst>
          </p:cNvPr>
          <p:cNvSpPr>
            <a:spLocks noGrp="1"/>
          </p:cNvSpPr>
          <p:nvPr>
            <p:ph type="body" sz="quarter" idx="16" hasCustomPrompt="1"/>
          </p:nvPr>
        </p:nvSpPr>
        <p:spPr>
          <a:xfrm>
            <a:off x="4173067" y="113146"/>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3" name="Afklassificeret">
            <a:extLst>
              <a:ext uri="{FF2B5EF4-FFF2-40B4-BE49-F238E27FC236}">
                <a16:creationId xmlns:a16="http://schemas.microsoft.com/office/drawing/2014/main" id="{8126867F-BD3A-45BA-96EE-6E9AE4F5EE72}"/>
              </a:ext>
            </a:extLst>
          </p:cNvPr>
          <p:cNvSpPr>
            <a:spLocks noGrp="1"/>
          </p:cNvSpPr>
          <p:nvPr>
            <p:ph type="body" sz="quarter" idx="17" hasCustomPrompt="1"/>
          </p:nvPr>
        </p:nvSpPr>
        <p:spPr>
          <a:xfrm>
            <a:off x="4173069" y="277200"/>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5" name="Tjenestebrug">
            <a:extLst>
              <a:ext uri="{FF2B5EF4-FFF2-40B4-BE49-F238E27FC236}">
                <a16:creationId xmlns:a16="http://schemas.microsoft.com/office/drawing/2014/main" id="{64E702A2-5A83-4FD2-A285-D7CF9FDB7FE8}"/>
              </a:ext>
            </a:extLst>
          </p:cNvPr>
          <p:cNvSpPr>
            <a:spLocks noGrp="1"/>
          </p:cNvSpPr>
          <p:nvPr>
            <p:ph type="body" sz="quarter" idx="19" hasCustomPrompt="1"/>
          </p:nvPr>
        </p:nvSpPr>
        <p:spPr>
          <a:xfrm>
            <a:off x="4173066" y="6475588"/>
            <a:ext cx="3845867"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D07E64A7-4EFA-440B-9CFF-446374F93970}"/>
              </a:ext>
            </a:extLst>
          </p:cNvPr>
          <p:cNvSpPr>
            <a:spLocks noGrp="1"/>
          </p:cNvSpPr>
          <p:nvPr>
            <p:ph type="body" sz="quarter" idx="20" hasCustomPrompt="1"/>
          </p:nvPr>
        </p:nvSpPr>
        <p:spPr>
          <a:xfrm>
            <a:off x="4173068" y="6633347"/>
            <a:ext cx="3845866"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2" name="Pladsholder til dato 14"/>
          <p:cNvSpPr>
            <a:spLocks noGrp="1"/>
          </p:cNvSpPr>
          <p:nvPr>
            <p:ph type="dt" sz="half" idx="22"/>
          </p:nvPr>
        </p:nvSpPr>
        <p:spPr>
          <a:xfrm>
            <a:off x="8226824" y="6571530"/>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3" name="Pladsholder til sidefod 15"/>
          <p:cNvSpPr>
            <a:spLocks noGrp="1"/>
          </p:cNvSpPr>
          <p:nvPr>
            <p:ph type="ftr" sz="quarter" idx="23"/>
          </p:nvPr>
        </p:nvSpPr>
        <p:spPr>
          <a:xfrm>
            <a:off x="8226824" y="6420467"/>
            <a:ext cx="2988644" cy="146223"/>
          </a:xfrm>
        </p:spPr>
        <p:txBody>
          <a:bodyPr/>
          <a:lstStyle/>
          <a:p>
            <a:endParaRPr lang="en-GB" dirty="0">
              <a:solidFill>
                <a:prstClr val="black"/>
              </a:solidFill>
            </a:endParaRPr>
          </a:p>
        </p:txBody>
      </p:sp>
      <p:sp>
        <p:nvSpPr>
          <p:cNvPr id="24" name="Pladsholder til tekst 2"/>
          <p:cNvSpPr>
            <a:spLocks noGrp="1"/>
          </p:cNvSpPr>
          <p:nvPr>
            <p:ph type="body" sz="quarter" idx="25" hasCustomPrompt="1"/>
          </p:nvPr>
        </p:nvSpPr>
        <p:spPr>
          <a:xfrm>
            <a:off x="8226949" y="6278040"/>
            <a:ext cx="2989691" cy="122237"/>
          </a:xfrm>
        </p:spPr>
        <p:txBody>
          <a:bodyPr/>
          <a:lstStyle>
            <a:lvl1pPr marL="0" indent="0" algn="r">
              <a:buNone/>
              <a:defRPr sz="700" b="1" baseline="0"/>
            </a:lvl1pPr>
          </a:lstStyle>
          <a:p>
            <a:pPr lvl="0"/>
            <a:r>
              <a:rPr lang="da-DK" dirty="0"/>
              <a:t>Klik her for at tilføje titel </a:t>
            </a:r>
          </a:p>
        </p:txBody>
      </p:sp>
      <p:sp>
        <p:nvSpPr>
          <p:cNvPr id="25" name="Pladsholder til tekst 2"/>
          <p:cNvSpPr>
            <a:spLocks noGrp="1"/>
          </p:cNvSpPr>
          <p:nvPr>
            <p:ph type="body" sz="quarter" idx="26" hasCustomPrompt="1"/>
          </p:nvPr>
        </p:nvSpPr>
        <p:spPr>
          <a:xfrm>
            <a:off x="8239318" y="6684882"/>
            <a:ext cx="2989691" cy="122237"/>
          </a:xfrm>
        </p:spPr>
        <p:txBody>
          <a:bodyPr/>
          <a:lstStyle>
            <a:lvl1pPr marL="0" indent="0" algn="r">
              <a:buNone/>
              <a:defRPr sz="700" b="0" i="0"/>
            </a:lvl1pPr>
          </a:lstStyle>
          <a:p>
            <a:pPr lvl="0"/>
            <a:r>
              <a:rPr lang="da-DK" dirty="0"/>
              <a:t>Klik for at tilføje REF</a:t>
            </a:r>
          </a:p>
        </p:txBody>
      </p:sp>
      <p:sp>
        <p:nvSpPr>
          <p:cNvPr id="14"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17" name="Billede 16"/>
          <p:cNvPicPr>
            <a:picLocks noChangeAspect="1"/>
          </p:cNvPicPr>
          <p:nvPr userDrawn="1"/>
        </p:nvPicPr>
        <p:blipFill>
          <a:blip r:embed="rId2"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492923" y="130695"/>
            <a:ext cx="1803710" cy="417804"/>
          </a:xfrm>
          <a:prstGeom prst="rect">
            <a:avLst/>
          </a:prstGeom>
        </p:spPr>
      </p:pic>
    </p:spTree>
    <p:extLst>
      <p:ext uri="{BB962C8B-B14F-4D97-AF65-F5344CB8AC3E}">
        <p14:creationId xmlns:p14="http://schemas.microsoft.com/office/powerpoint/2010/main" val="16699927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8045" y="291246"/>
            <a:ext cx="3616416" cy="571113"/>
          </a:xfrm>
          <a:prstGeom prst="rect">
            <a:avLst/>
          </a:prstGeom>
        </p:spPr>
      </p:pic>
      <p:sp>
        <p:nvSpPr>
          <p:cNvPr id="2" name="Title 1"/>
          <p:cNvSpPr>
            <a:spLocks noGrp="1"/>
          </p:cNvSpPr>
          <p:nvPr>
            <p:ph type="ctrTitle" hasCustomPrompt="1"/>
          </p:nvPr>
        </p:nvSpPr>
        <p:spPr>
          <a:xfrm>
            <a:off x="784491" y="3701966"/>
            <a:ext cx="5294103" cy="1161515"/>
          </a:xfrm>
        </p:spPr>
        <p:txBody>
          <a:bodyPr wrap="square" anchor="b">
            <a:sp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8" y="4983983"/>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33">
                <a:noFill/>
              </a:defRPr>
            </a:lvl1pPr>
          </a:lstStyle>
          <a:p>
            <a:fld id="{92DDE9B4-E20E-4166-9E8A-7669FBF6BC45}" type="datetime2">
              <a:rPr lang="da-DK" smtClean="0"/>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7" y="5960100"/>
            <a:ext cx="10588208"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33" dirty="0"/>
              <a:t>.</a:t>
            </a:r>
          </a:p>
        </p:txBody>
      </p:sp>
    </p:spTree>
    <p:extLst>
      <p:ext uri="{BB962C8B-B14F-4D97-AF65-F5344CB8AC3E}">
        <p14:creationId xmlns:p14="http://schemas.microsoft.com/office/powerpoint/2010/main" val="13142416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8042" y="291244"/>
            <a:ext cx="3616422"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1" y="1928818"/>
            <a:ext cx="105977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3"/>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33">
                <a:noFill/>
              </a:defRPr>
            </a:lvl1pPr>
          </a:lstStyle>
          <a:p>
            <a:fld id="{11DD6BA7-93C3-470D-B79D-E61545C07AE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7" y="5960100"/>
            <a:ext cx="10588208"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33" dirty="0"/>
              <a:t>.</a:t>
            </a:r>
          </a:p>
        </p:txBody>
      </p:sp>
    </p:spTree>
    <p:extLst>
      <p:ext uri="{BB962C8B-B14F-4D97-AF65-F5344CB8AC3E}">
        <p14:creationId xmlns:p14="http://schemas.microsoft.com/office/powerpoint/2010/main" val="1656082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50"/>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9" y="2975666"/>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7E9BCEF4-7844-49AA-9C29-E26470A377E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6B8D684C-6BEA-4C81-AAFE-F31A43720693}"/>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379EB76D-315B-4B5B-B041-FF40201D4F5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9634AAAC-51EE-4FCD-AAFE-50F5C047DEB9}"/>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B0213CFD-09AF-4AF8-A4A7-0EA8C39AAFE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610B61A6-CE0F-4437-AE05-C3AF25F6346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5C34CD16-008B-4BC1-8633-41223484C5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10785838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5" y="1871673"/>
            <a:ext cx="108451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3896294"/>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5" y="6450430"/>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4" y="660818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duotone>
              <a:prstClr val="black"/>
              <a:schemeClr val="accent1">
                <a:tint val="45000"/>
                <a:satMod val="400000"/>
              </a:schemeClr>
            </a:duotone>
          </a:blip>
          <a:stretch>
            <a:fillRect/>
          </a:stretch>
        </p:blipFill>
        <p:spPr>
          <a:xfrm>
            <a:off x="0"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4"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30604131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4" y="1152001"/>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2"/>
            <a:ext cx="758512" cy="218236"/>
          </a:xfrm>
        </p:spPr>
        <p:txBody>
          <a:bodyPr/>
          <a:lstStyle>
            <a:lvl1pPr marL="0" indent="0">
              <a:lnSpc>
                <a:spcPct val="100000"/>
              </a:lnSpc>
              <a:spcBef>
                <a:spcPts val="0"/>
              </a:spcBef>
              <a:buNone/>
              <a:defRPr sz="900" b="1" cap="all" baseline="0"/>
            </a:lvl1pPr>
            <a:lvl2pPr marL="287933" indent="0">
              <a:buNone/>
              <a:defRPr sz="900" b="1" cap="all" baseline="0"/>
            </a:lvl2pPr>
            <a:lvl3pPr marL="575867" indent="0">
              <a:buNone/>
              <a:defRPr sz="900" b="1" cap="all" baseline="0"/>
            </a:lvl3pPr>
            <a:lvl4pPr marL="575867" indent="0">
              <a:buNone/>
              <a:defRPr sz="900" b="1" cap="all" baseline="0"/>
            </a:lvl4pPr>
            <a:lvl5pPr marL="575867"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8" y="1925483"/>
            <a:ext cx="1630016" cy="218236"/>
          </a:xfrm>
        </p:spPr>
        <p:txBody>
          <a:bodyPr/>
          <a:lstStyle>
            <a:lvl1pPr marL="89979" indent="-89979">
              <a:lnSpc>
                <a:spcPct val="100000"/>
              </a:lnSpc>
              <a:spcBef>
                <a:spcPts val="0"/>
              </a:spcBef>
              <a:buClr>
                <a:schemeClr val="accent2"/>
              </a:buClr>
              <a:buSzPct val="105000"/>
              <a:buFont typeface="Verdana" panose="020B0604030504040204" pitchFamily="34" charset="0"/>
              <a:buChar char="/"/>
              <a:defRPr sz="900"/>
            </a:lvl1pPr>
            <a:lvl2pPr marL="161962" indent="-89979">
              <a:lnSpc>
                <a:spcPct val="100000"/>
              </a:lnSpc>
              <a:spcBef>
                <a:spcPts val="0"/>
              </a:spcBef>
              <a:buClr>
                <a:schemeClr val="accent2"/>
              </a:buClr>
              <a:buSzPct val="105000"/>
              <a:buFont typeface="Verdana" panose="020B0604030504040204" pitchFamily="34" charset="0"/>
              <a:buChar char="/"/>
              <a:defRPr sz="900"/>
            </a:lvl2pPr>
            <a:lvl3pPr marL="161962" indent="-89979">
              <a:lnSpc>
                <a:spcPct val="100000"/>
              </a:lnSpc>
              <a:spcBef>
                <a:spcPts val="0"/>
              </a:spcBef>
              <a:buClr>
                <a:schemeClr val="accent2"/>
              </a:buClr>
              <a:buSzPct val="105000"/>
              <a:buFont typeface="Verdana" panose="020B0604030504040204" pitchFamily="34" charset="0"/>
              <a:buChar char="/"/>
              <a:defRPr sz="900"/>
            </a:lvl3pPr>
            <a:lvl4pPr marL="161962" indent="-89979">
              <a:lnSpc>
                <a:spcPct val="100000"/>
              </a:lnSpc>
              <a:spcBef>
                <a:spcPts val="0"/>
              </a:spcBef>
              <a:buClr>
                <a:schemeClr val="accent2"/>
              </a:buClr>
              <a:buSzPct val="105000"/>
              <a:buFont typeface="Verdana" panose="020B0604030504040204" pitchFamily="34" charset="0"/>
              <a:buChar char="/"/>
              <a:defRPr sz="900"/>
            </a:lvl4pPr>
            <a:lvl5pPr marL="161962" indent="-89979">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7" y="1925483"/>
            <a:ext cx="5421138" cy="4067775"/>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934CEC8A-C8FB-4D28-B7F9-6ADBCE5A9C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Tree>
    <p:extLst>
      <p:ext uri="{BB962C8B-B14F-4D97-AF65-F5344CB8AC3E}">
        <p14:creationId xmlns:p14="http://schemas.microsoft.com/office/powerpoint/2010/main" val="35026527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6" y="1152001"/>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4"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6" y="5454666"/>
            <a:ext cx="10593959" cy="542135"/>
          </a:xfrm>
        </p:spPr>
        <p:txBody>
          <a:bodyPr anchor="b" anchorCtr="0"/>
          <a:lstStyle>
            <a:lvl1pPr marL="107976" indent="-107976">
              <a:lnSpc>
                <a:spcPct val="114000"/>
              </a:lnSpc>
              <a:spcBef>
                <a:spcPts val="0"/>
              </a:spcBef>
              <a:buFont typeface="Verdana" panose="020B0604030504040204" pitchFamily="34" charset="0"/>
              <a:buChar char="*"/>
              <a:defRPr sz="900"/>
            </a:lvl1pPr>
            <a:lvl2pPr marL="107976" indent="-107976">
              <a:lnSpc>
                <a:spcPct val="114000"/>
              </a:lnSpc>
              <a:spcBef>
                <a:spcPts val="0"/>
              </a:spcBef>
              <a:buFont typeface="Verdana" panose="020B0604030504040204" pitchFamily="34" charset="0"/>
              <a:buChar char="*"/>
              <a:defRPr sz="900"/>
            </a:lvl2pPr>
            <a:lvl3pPr marL="107976" indent="-107976">
              <a:lnSpc>
                <a:spcPct val="114000"/>
              </a:lnSpc>
              <a:spcBef>
                <a:spcPts val="0"/>
              </a:spcBef>
              <a:buFont typeface="Verdana" panose="020B0604030504040204" pitchFamily="34" charset="0"/>
              <a:buChar char="*"/>
              <a:defRPr sz="900"/>
            </a:lvl3pPr>
            <a:lvl4pPr marL="107976" indent="-107976">
              <a:lnSpc>
                <a:spcPct val="114000"/>
              </a:lnSpc>
              <a:spcBef>
                <a:spcPts val="0"/>
              </a:spcBef>
              <a:buFont typeface="Verdana" panose="020B0604030504040204" pitchFamily="34" charset="0"/>
              <a:buChar char="*"/>
              <a:defRPr sz="900"/>
            </a:lvl4pPr>
            <a:lvl5pPr marL="107976" indent="-107976">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BEDA8DD-5684-41C1-819A-3C452F6F5E5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3848624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7" y="1150631"/>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5" y="2075384"/>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2" y="1150635"/>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9798D945-A512-4B40-808D-20047F570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301922937"/>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7" y="1150631"/>
            <a:ext cx="503368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7" y="2075385"/>
            <a:ext cx="503375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5" y="3679200"/>
            <a:ext cx="5294102"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4BC8EDD-67B4-429E-AA41-8DE45F7A4165}"/>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5981FD92-853F-4EF4-AB6A-CB3D58EABC53}"/>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344DC34-B415-4C79-83EC-FD18BB13B232}"/>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7C4FAB30-1C07-456C-A9BB-7801F945DD4A}"/>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5A9E7A4-DD51-4138-BF52-C82A0D1F04B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DC249281-EF66-4F7E-AC42-D497D19E4F6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56F07596-996D-4575-A2A3-5376224453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1229947691"/>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7" y="1150631"/>
            <a:ext cx="503368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7" y="2077201"/>
            <a:ext cx="5033222" cy="1357939"/>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5"/>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7"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4"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71EE84BD-B6F2-4D6F-9341-F05F2F9371C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981951D-EA32-4B8C-98C7-6CC29CC3343F}"/>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985677D0-2910-4BE6-B9AD-63E027FCBB8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A9A7AEA-2CCB-4B7C-9A41-05A2536073D9}"/>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E0F4DF8F-C91D-47EE-878E-88A75593993A}"/>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3D20EC0-5FE2-452A-95AC-E2227ACA46A0}"/>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B4716AE2-37B0-4F3D-93A2-B5C1D963D5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2607370508"/>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6" y="786307"/>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2" y="3552805"/>
            <a:ext cx="2524782" cy="2418984"/>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79958" indent="-179958">
              <a:spcBef>
                <a:spcPts val="1500"/>
              </a:spcBef>
              <a:defRPr sz="1000">
                <a:solidFill>
                  <a:schemeClr val="bg1"/>
                </a:solidFill>
              </a:defRPr>
            </a:lvl3pPr>
            <a:lvl4pPr marL="359917" indent="-179958">
              <a:spcBef>
                <a:spcPts val="1500"/>
              </a:spcBef>
              <a:defRPr sz="1000">
                <a:solidFill>
                  <a:schemeClr val="bg1"/>
                </a:solidFill>
              </a:defRPr>
            </a:lvl4pPr>
            <a:lvl5pPr marL="539874" indent="-179958">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58039C2-81DC-48AD-9E34-AE4253D547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3797021776"/>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6"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7A139209-2B0E-45A0-A5BB-3F089D1BB6E3}"/>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65B7337B-0AB1-4388-A313-A61391ADF5C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0A6CDB6A-641A-447E-A32D-F7D87A530E52}"/>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6BC8E76A-C235-4184-8FB8-BDE06D9B92B3}"/>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DDCFF06A-ADD6-4BB6-96B8-B89E476B454F}"/>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5FFA91E3-3B17-4E6F-B153-399A48D709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1A56DEB6-F279-4755-B90D-FBCA2DFB35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33539906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6"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ABDD9822-0569-4243-9647-E62032E356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spTree>
    <p:extLst>
      <p:ext uri="{BB962C8B-B14F-4D97-AF65-F5344CB8AC3E}">
        <p14:creationId xmlns:p14="http://schemas.microsoft.com/office/powerpoint/2010/main" val="11180313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554" y="4653653"/>
            <a:ext cx="3506944" cy="553825"/>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1"/>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5"/>
            <a:ext cx="2880003" cy="108000"/>
          </a:xfrm>
        </p:spPr>
        <p:txBody>
          <a:bodyPr anchor="ctr" anchorCtr="0"/>
          <a:lstStyle>
            <a:lvl1pPr marL="0" indent="0">
              <a:lnSpc>
                <a:spcPct val="100000"/>
              </a:lnSpc>
              <a:spcBef>
                <a:spcPts val="0"/>
              </a:spcBef>
              <a:buNone/>
              <a:tabLst>
                <a:tab pos="406705"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705"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43">
              <a:lnSpc>
                <a:spcPct val="100000"/>
              </a:lnSpc>
              <a:spcBef>
                <a:spcPts val="0"/>
              </a:spcBef>
              <a:buNone/>
              <a:defRPr sz="700" cap="all" baseline="0"/>
            </a:lvl1pPr>
            <a:lvl2pPr marL="0" indent="0" algn="ctr" defTabSz="179343">
              <a:lnSpc>
                <a:spcPct val="100000"/>
              </a:lnSpc>
              <a:spcBef>
                <a:spcPts val="0"/>
              </a:spcBef>
              <a:buNone/>
              <a:defRPr sz="700" cap="all" baseline="0"/>
            </a:lvl2pPr>
            <a:lvl3pPr marL="0" indent="0" algn="ctr" defTabSz="179343">
              <a:lnSpc>
                <a:spcPct val="100000"/>
              </a:lnSpc>
              <a:spcBef>
                <a:spcPts val="0"/>
              </a:spcBef>
              <a:buNone/>
              <a:defRPr sz="700" cap="all" baseline="0"/>
            </a:lvl3pPr>
            <a:lvl4pPr marL="0" indent="0" algn="ctr" defTabSz="179343">
              <a:lnSpc>
                <a:spcPct val="100000"/>
              </a:lnSpc>
              <a:spcBef>
                <a:spcPts val="0"/>
              </a:spcBef>
              <a:buNone/>
              <a:defRPr sz="700" cap="all" baseline="0"/>
            </a:lvl4pPr>
            <a:lvl5pPr marL="0" indent="0" algn="ctr" defTabSz="179343">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33">
                <a:noFill/>
              </a:defRPr>
            </a:lvl1pPr>
          </a:lstStyle>
          <a:p>
            <a:fld id="{CDDADBF2-AF97-44F7-AB18-97D454ABE463}" type="datetime2">
              <a:rPr lang="da-DK" smtClean="0"/>
              <a:pPr/>
              <a:t>4. februar 2025</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5722573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31" name="Text Box 2"/>
          <p:cNvSpPr txBox="1">
            <a:spLocks noChangeArrowheads="1"/>
          </p:cNvSpPr>
          <p:nvPr userDrawn="1"/>
        </p:nvSpPr>
        <p:spPr bwMode="auto">
          <a:xfrm>
            <a:off x="8535545" y="1532530"/>
            <a:ext cx="3021178"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æt den på igen ved at klikke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isteniveau bruges</a:t>
            </a:r>
          </a:p>
          <a:p>
            <a:pPr marL="0" marR="0" lvl="0" indent="0" algn="l" defTabSz="914186" rtl="0" eaLnBrk="1" fontAlgn="auto" latinLnBrk="0" hangingPunct="1">
              <a:lnSpc>
                <a:spcPct val="100000"/>
              </a:lnSpc>
              <a:spcBef>
                <a:spcPts val="1200"/>
              </a:spcBef>
              <a:spcAft>
                <a:spcPts val="600"/>
              </a:spcAft>
              <a:buClrTx/>
              <a:buSzTx/>
              <a:buFont typeface="+mj-lt"/>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186"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186"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 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dato og sidefo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lle slides</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indtast evt. tekst i sidefo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p:txBody>
      </p:sp>
      <p:sp>
        <p:nvSpPr>
          <p:cNvPr id="9" name="Fast overskrift"/>
          <p:cNvSpPr txBox="1"/>
          <p:nvPr userDrawn="1"/>
        </p:nvSpPr>
        <p:spPr>
          <a:xfrm>
            <a:off x="801898" y="869069"/>
            <a:ext cx="10641540" cy="650171"/>
          </a:xfrm>
          <a:prstGeom prst="rect">
            <a:avLst/>
          </a:prstGeom>
          <a:noFill/>
        </p:spPr>
        <p:txBody>
          <a:bodyPr wrap="square" lIns="0" tIns="0" rIns="0" bIns="0" rtlCol="0" anchor="t" anchorCtr="0">
            <a:noAutofit/>
          </a:bodyPr>
          <a:lstStyle/>
          <a:p>
            <a:r>
              <a:rPr lang="da-DK" sz="2399"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33">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801898" y="1527330"/>
            <a:ext cx="290888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slides i venstre side (Ctrl+A)</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 over</a:t>
            </a:r>
          </a:p>
          <a:p>
            <a:pPr marL="0" marR="0" lvl="0" indent="0" algn="l" defTabSz="914186"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slides</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skema på alle slide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lse af mærk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lide 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øverste layout</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 på første layout og fang den hvide boks. 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strukturfyld</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sp>
        <p:nvSpPr>
          <p:cNvPr id="23" name="Text Box 2"/>
          <p:cNvSpPr txBox="1">
            <a:spLocks noChangeArrowheads="1"/>
          </p:cNvSpPr>
          <p:nvPr userDrawn="1"/>
        </p:nvSpPr>
        <p:spPr bwMode="auto">
          <a:xfrm>
            <a:off x="5204042" y="1527331"/>
            <a:ext cx="2340301"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tartsid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Dias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un</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ides fra den valgte myndighed, ellers vises forkert logo</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18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hold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du trækk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 billedets hjørner</a:t>
            </a:r>
          </a:p>
          <a:p>
            <a:pPr marL="0" marR="0" lvl="0" indent="0" algn="l" defTabSz="91418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indsætter et nyt, kan billedet lægge sig foran tekst og grafik. Hvis dette sker, højreklik på billed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B15DE49A-D706-49C7-8B9D-C6E0D0CEAE3C}"/>
              </a:ext>
            </a:extLst>
          </p:cNvPr>
          <p:cNvPicPr>
            <a:picLocks noChangeAspect="1"/>
          </p:cNvPicPr>
          <p:nvPr userDrawn="1"/>
        </p:nvPicPr>
        <p:blipFill>
          <a:blip r:embed="rId2"/>
          <a:stretch>
            <a:fillRect/>
          </a:stretch>
        </p:blipFill>
        <p:spPr>
          <a:xfrm>
            <a:off x="11036818" y="2331699"/>
            <a:ext cx="333420" cy="219048"/>
          </a:xfrm>
          <a:prstGeom prst="rect">
            <a:avLst/>
          </a:prstGeom>
        </p:spPr>
      </p:pic>
      <p:pic>
        <p:nvPicPr>
          <p:cNvPr id="28" name="1 Forøg formindsk">
            <a:extLst>
              <a:ext uri="{FF2B5EF4-FFF2-40B4-BE49-F238E27FC236}">
                <a16:creationId xmlns:a16="http://schemas.microsoft.com/office/drawing/2014/main" id="{CEB69AE5-687E-419D-A55F-E487AC302497}"/>
              </a:ext>
            </a:extLst>
          </p:cNvPr>
          <p:cNvPicPr>
            <a:picLocks noChangeAspect="1"/>
          </p:cNvPicPr>
          <p:nvPr userDrawn="1"/>
        </p:nvPicPr>
        <p:blipFill>
          <a:blip r:embed="rId3"/>
          <a:stretch>
            <a:fillRect/>
          </a:stretch>
        </p:blipFill>
        <p:spPr>
          <a:xfrm>
            <a:off x="10893966" y="2726282"/>
            <a:ext cx="549471" cy="285228"/>
          </a:xfrm>
          <a:prstGeom prst="rect">
            <a:avLst/>
          </a:prstGeom>
        </p:spPr>
      </p:pic>
      <p:pic>
        <p:nvPicPr>
          <p:cNvPr id="29" name="2 Ny slide">
            <a:extLst>
              <a:ext uri="{FF2B5EF4-FFF2-40B4-BE49-F238E27FC236}">
                <a16:creationId xmlns:a16="http://schemas.microsoft.com/office/drawing/2014/main" id="{15FEBEC5-3544-4D6D-BEE7-FF3B1F66C583}"/>
              </a:ext>
            </a:extLst>
          </p:cNvPr>
          <p:cNvPicPr>
            <a:picLocks noChangeAspect="1"/>
          </p:cNvPicPr>
          <p:nvPr userDrawn="1"/>
        </p:nvPicPr>
        <p:blipFill rotWithShape="1">
          <a:blip r:embed="rId4"/>
          <a:srcRect l="2931" r="60888"/>
          <a:stretch/>
        </p:blipFill>
        <p:spPr>
          <a:xfrm>
            <a:off x="7424181" y="1729552"/>
            <a:ext cx="363808" cy="647461"/>
          </a:xfrm>
          <a:prstGeom prst="rect">
            <a:avLst/>
          </a:prstGeom>
        </p:spPr>
      </p:pic>
      <p:pic>
        <p:nvPicPr>
          <p:cNvPr id="36" name="3 Layout">
            <a:extLst>
              <a:ext uri="{FF2B5EF4-FFF2-40B4-BE49-F238E27FC236}">
                <a16:creationId xmlns:a16="http://schemas.microsoft.com/office/drawing/2014/main" id="{6FF1287C-BF9A-43AF-BCD0-BAEDCF6A3E4F}"/>
              </a:ext>
            </a:extLst>
          </p:cNvPr>
          <p:cNvPicPr>
            <a:picLocks noChangeAspect="1"/>
          </p:cNvPicPr>
          <p:nvPr userDrawn="1"/>
        </p:nvPicPr>
        <p:blipFill rotWithShape="1">
          <a:blip r:embed="rId4"/>
          <a:srcRect l="36944" r="2272" b="69429"/>
          <a:stretch/>
        </p:blipFill>
        <p:spPr>
          <a:xfrm>
            <a:off x="7424178" y="2637673"/>
            <a:ext cx="593523" cy="192211"/>
          </a:xfrm>
          <a:prstGeom prst="rect">
            <a:avLst/>
          </a:prstGeom>
        </p:spPr>
      </p:pic>
      <p:pic>
        <p:nvPicPr>
          <p:cNvPr id="37" name="4 Nulstil">
            <a:extLst>
              <a:ext uri="{FF2B5EF4-FFF2-40B4-BE49-F238E27FC236}">
                <a16:creationId xmlns:a16="http://schemas.microsoft.com/office/drawing/2014/main" id="{A5EF829E-F701-44EF-8539-1321E27FF689}"/>
              </a:ext>
            </a:extLst>
          </p:cNvPr>
          <p:cNvPicPr>
            <a:picLocks noChangeAspect="1"/>
          </p:cNvPicPr>
          <p:nvPr userDrawn="1"/>
        </p:nvPicPr>
        <p:blipFill>
          <a:blip r:embed="rId5"/>
          <a:stretch>
            <a:fillRect/>
          </a:stretch>
        </p:blipFill>
        <p:spPr>
          <a:xfrm>
            <a:off x="10893966" y="3453262"/>
            <a:ext cx="547384" cy="197799"/>
          </a:xfrm>
          <a:prstGeom prst="rect">
            <a:avLst/>
          </a:prstGeom>
        </p:spPr>
      </p:pic>
      <p:pic>
        <p:nvPicPr>
          <p:cNvPr id="38" name="5 Indsæt billede">
            <a:extLst>
              <a:ext uri="{FF2B5EF4-FFF2-40B4-BE49-F238E27FC236}">
                <a16:creationId xmlns:a16="http://schemas.microsoft.com/office/drawing/2014/main" id="{3D3C226B-A300-4773-A813-316D83446DEB}"/>
              </a:ext>
            </a:extLst>
          </p:cNvPr>
          <p:cNvPicPr>
            <a:picLocks noChangeAspect="1"/>
          </p:cNvPicPr>
          <p:nvPr userDrawn="1"/>
        </p:nvPicPr>
        <p:blipFill>
          <a:blip r:embed="rId6"/>
          <a:stretch>
            <a:fillRect/>
          </a:stretch>
        </p:blipFill>
        <p:spPr>
          <a:xfrm>
            <a:off x="7422382" y="4215767"/>
            <a:ext cx="262218" cy="256055"/>
          </a:xfrm>
          <a:prstGeom prst="rect">
            <a:avLst/>
          </a:prstGeom>
        </p:spPr>
      </p:pic>
      <p:pic>
        <p:nvPicPr>
          <p:cNvPr id="39" name="6 Beskær">
            <a:extLst>
              <a:ext uri="{FF2B5EF4-FFF2-40B4-BE49-F238E27FC236}">
                <a16:creationId xmlns:a16="http://schemas.microsoft.com/office/drawing/2014/main" id="{F5EB7714-1BAF-4615-8F42-CE312EE7628F}"/>
              </a:ext>
            </a:extLst>
          </p:cNvPr>
          <p:cNvPicPr>
            <a:picLocks noChangeAspect="1"/>
          </p:cNvPicPr>
          <p:nvPr userDrawn="1"/>
        </p:nvPicPr>
        <p:blipFill>
          <a:blip r:embed="rId7"/>
          <a:stretch>
            <a:fillRect/>
          </a:stretch>
        </p:blipFill>
        <p:spPr>
          <a:xfrm>
            <a:off x="7418629" y="4891540"/>
            <a:ext cx="337488" cy="321707"/>
          </a:xfrm>
          <a:prstGeom prst="rect">
            <a:avLst/>
          </a:prstGeom>
        </p:spPr>
      </p:pic>
      <p:pic>
        <p:nvPicPr>
          <p:cNvPr id="40" name="7 Skalér billede">
            <a:extLst>
              <a:ext uri="{FF2B5EF4-FFF2-40B4-BE49-F238E27FC236}">
                <a16:creationId xmlns:a16="http://schemas.microsoft.com/office/drawing/2014/main" id="{90E44E96-15EC-4173-BC67-080D7205EA5D}"/>
              </a:ext>
            </a:extLst>
          </p:cNvPr>
          <p:cNvPicPr>
            <a:picLocks noChangeAspect="1"/>
          </p:cNvPicPr>
          <p:nvPr userDrawn="1"/>
        </p:nvPicPr>
        <p:blipFill>
          <a:blip r:embed="rId8"/>
          <a:stretch>
            <a:fillRect/>
          </a:stretch>
        </p:blipFill>
        <p:spPr>
          <a:xfrm>
            <a:off x="7464216" y="5300091"/>
            <a:ext cx="359790" cy="335309"/>
          </a:xfrm>
          <a:prstGeom prst="rect">
            <a:avLst/>
          </a:prstGeom>
        </p:spPr>
      </p:pic>
      <p:pic>
        <p:nvPicPr>
          <p:cNvPr id="8" name="Billede 7">
            <a:extLst>
              <a:ext uri="{FF2B5EF4-FFF2-40B4-BE49-F238E27FC236}">
                <a16:creationId xmlns:a16="http://schemas.microsoft.com/office/drawing/2014/main" id="{0FAE27C5-4052-440E-8FA4-A98456A0F42B}"/>
              </a:ext>
            </a:extLst>
          </p:cNvPr>
          <p:cNvPicPr>
            <a:picLocks noChangeAspect="1"/>
          </p:cNvPicPr>
          <p:nvPr userDrawn="1"/>
        </p:nvPicPr>
        <p:blipFill>
          <a:blip r:embed="rId9"/>
          <a:stretch>
            <a:fillRect/>
          </a:stretch>
        </p:blipFill>
        <p:spPr>
          <a:xfrm>
            <a:off x="2902799" y="2867099"/>
            <a:ext cx="1188952" cy="496311"/>
          </a:xfrm>
          <a:prstGeom prst="rect">
            <a:avLst/>
          </a:prstGeom>
        </p:spPr>
      </p:pic>
      <p:pic>
        <p:nvPicPr>
          <p:cNvPr id="12" name="Billede 11">
            <a:extLst>
              <a:ext uri="{FF2B5EF4-FFF2-40B4-BE49-F238E27FC236}">
                <a16:creationId xmlns:a16="http://schemas.microsoft.com/office/drawing/2014/main" id="{7578D16D-11CB-45D8-BBA9-97BDA3E71BF2}"/>
              </a:ext>
            </a:extLst>
          </p:cNvPr>
          <p:cNvPicPr>
            <a:picLocks noChangeAspect="1"/>
          </p:cNvPicPr>
          <p:nvPr userDrawn="1"/>
        </p:nvPicPr>
        <p:blipFill rotWithShape="1">
          <a:blip r:embed="rId10"/>
          <a:srcRect b="46720"/>
          <a:stretch/>
        </p:blipFill>
        <p:spPr>
          <a:xfrm>
            <a:off x="3754195" y="3570201"/>
            <a:ext cx="893462" cy="627651"/>
          </a:xfrm>
          <a:prstGeom prst="rect">
            <a:avLst/>
          </a:prstGeom>
        </p:spPr>
      </p:pic>
      <p:sp>
        <p:nvSpPr>
          <p:cNvPr id="13" name="Rektangel 12">
            <a:extLst>
              <a:ext uri="{FF2B5EF4-FFF2-40B4-BE49-F238E27FC236}">
                <a16:creationId xmlns:a16="http://schemas.microsoft.com/office/drawing/2014/main" id="{82D1FADE-DAFE-478C-930A-6DBB9BAC37F0}"/>
              </a:ext>
            </a:extLst>
          </p:cNvPr>
          <p:cNvSpPr/>
          <p:nvPr userDrawn="1"/>
        </p:nvSpPr>
        <p:spPr>
          <a:xfrm>
            <a:off x="3711510" y="3551932"/>
            <a:ext cx="990263" cy="52794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14" name="Billede 13">
            <a:extLst>
              <a:ext uri="{FF2B5EF4-FFF2-40B4-BE49-F238E27FC236}">
                <a16:creationId xmlns:a16="http://schemas.microsoft.com/office/drawing/2014/main" id="{A0F8AFD2-A688-44B9-964A-D90D804E5692}"/>
              </a:ext>
            </a:extLst>
          </p:cNvPr>
          <p:cNvPicPr>
            <a:picLocks noChangeAspect="1"/>
          </p:cNvPicPr>
          <p:nvPr userDrawn="1"/>
        </p:nvPicPr>
        <p:blipFill rotWithShape="1">
          <a:blip r:embed="rId11"/>
          <a:srcRect l="14162" t="-10959" b="-1"/>
          <a:stretch/>
        </p:blipFill>
        <p:spPr>
          <a:xfrm>
            <a:off x="3608738" y="4263735"/>
            <a:ext cx="1134764" cy="494511"/>
          </a:xfrm>
          <a:prstGeom prst="rect">
            <a:avLst/>
          </a:prstGeom>
        </p:spPr>
      </p:pic>
      <p:sp>
        <p:nvSpPr>
          <p:cNvPr id="33" name="Rektangel 32">
            <a:extLst>
              <a:ext uri="{FF2B5EF4-FFF2-40B4-BE49-F238E27FC236}">
                <a16:creationId xmlns:a16="http://schemas.microsoft.com/office/drawing/2014/main" id="{32AE28FE-3DAC-4B7C-877A-CCF99AD7BB33}"/>
              </a:ext>
            </a:extLst>
          </p:cNvPr>
          <p:cNvSpPr/>
          <p:nvPr userDrawn="1"/>
        </p:nvSpPr>
        <p:spPr>
          <a:xfrm>
            <a:off x="4091751" y="4263735"/>
            <a:ext cx="472859"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24" name="Logo">
            <a:extLst>
              <a:ext uri="{FF2B5EF4-FFF2-40B4-BE49-F238E27FC236}">
                <a16:creationId xmlns:a16="http://schemas.microsoft.com/office/drawing/2014/main" id="{F890F6C2-7553-4B53-9A72-EC01290DF87A}"/>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354095" y="180348"/>
            <a:ext cx="3396599" cy="536399"/>
          </a:xfrm>
          <a:prstGeom prst="rect">
            <a:avLst/>
          </a:prstGeom>
        </p:spPr>
      </p:pic>
      <p:pic>
        <p:nvPicPr>
          <p:cNvPr id="45" name="Billede 44">
            <a:extLst>
              <a:ext uri="{FF2B5EF4-FFF2-40B4-BE49-F238E27FC236}">
                <a16:creationId xmlns:a16="http://schemas.microsoft.com/office/drawing/2014/main" id="{2A639B25-3B69-4C9B-8AD3-D8FD1B4943CF}"/>
              </a:ext>
            </a:extLst>
          </p:cNvPr>
          <p:cNvPicPr>
            <a:picLocks noChangeAspect="1"/>
          </p:cNvPicPr>
          <p:nvPr userDrawn="1"/>
        </p:nvPicPr>
        <p:blipFill>
          <a:blip r:embed="rId13"/>
          <a:stretch>
            <a:fillRect/>
          </a:stretch>
        </p:blipFill>
        <p:spPr>
          <a:xfrm>
            <a:off x="801899" y="2378921"/>
            <a:ext cx="3453998" cy="231308"/>
          </a:xfrm>
          <a:prstGeom prst="rect">
            <a:avLst/>
          </a:prstGeom>
        </p:spPr>
      </p:pic>
      <p:pic>
        <p:nvPicPr>
          <p:cNvPr id="46" name="Billede 24">
            <a:extLst>
              <a:ext uri="{FF2B5EF4-FFF2-40B4-BE49-F238E27FC236}">
                <a16:creationId xmlns:a16="http://schemas.microsoft.com/office/drawing/2014/main" id="{BC7185AD-12A6-4D53-BFE6-D7774FD58B2D}"/>
              </a:ext>
            </a:extLst>
          </p:cNvPr>
          <p:cNvPicPr>
            <a:picLocks noChangeAspect="1"/>
          </p:cNvPicPr>
          <p:nvPr userDrawn="1"/>
        </p:nvPicPr>
        <p:blipFill>
          <a:blip r:embed="rId14"/>
          <a:stretch>
            <a:fillRect/>
          </a:stretch>
        </p:blipFill>
        <p:spPr>
          <a:xfrm>
            <a:off x="3646908" y="1969715"/>
            <a:ext cx="444844" cy="236711"/>
          </a:xfrm>
          <a:prstGeom prst="rect">
            <a:avLst/>
          </a:prstGeom>
        </p:spPr>
      </p:pic>
      <p:sp>
        <p:nvSpPr>
          <p:cNvPr id="47" name="Tekstfelt 46">
            <a:extLst>
              <a:ext uri="{FF2B5EF4-FFF2-40B4-BE49-F238E27FC236}">
                <a16:creationId xmlns:a16="http://schemas.microsoft.com/office/drawing/2014/main" id="{D861B624-E28B-4C93-83A6-123355D562BD}"/>
              </a:ext>
            </a:extLst>
          </p:cNvPr>
          <p:cNvSpPr txBox="1"/>
          <p:nvPr userDrawn="1"/>
        </p:nvSpPr>
        <p:spPr>
          <a:xfrm>
            <a:off x="828596" y="2594321"/>
            <a:ext cx="3446631" cy="115416"/>
          </a:xfrm>
          <a:prstGeom prst="rect">
            <a:avLst/>
          </a:prstGeom>
          <a:noFill/>
        </p:spPr>
        <p:txBody>
          <a:bodyPr wrap="square" lIns="0" tIns="0" rIns="0" bIns="0" rtlCol="0">
            <a:spAutoFit/>
          </a:bodyPr>
          <a:lstStyle/>
          <a:p>
            <a:pPr>
              <a:lnSpc>
                <a:spcPct val="125000"/>
              </a:lnSpc>
              <a:tabLst>
                <a:tab pos="374557" algn="l"/>
                <a:tab pos="761810" algn="l"/>
                <a:tab pos="1141128" algn="l"/>
                <a:tab pos="1523619" algn="l"/>
                <a:tab pos="1910873" algn="l"/>
                <a:tab pos="2293365" algn="l"/>
                <a:tab pos="2675856" algn="l"/>
                <a:tab pos="3058349" algn="l"/>
              </a:tabLst>
            </a:pPr>
            <a:r>
              <a:rPr lang="da-DK" sz="600" dirty="0"/>
              <a:t>FMN	FMI	FPS	FES	FRS	FSV	BRS	HJV	FAUK</a:t>
            </a:r>
          </a:p>
        </p:txBody>
      </p:sp>
    </p:spTree>
    <p:extLst>
      <p:ext uri="{BB962C8B-B14F-4D97-AF65-F5344CB8AC3E}">
        <p14:creationId xmlns:p14="http://schemas.microsoft.com/office/powerpoint/2010/main" val="2472095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5" y="1871673"/>
            <a:ext cx="108451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3896294"/>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5" y="6450430"/>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4" y="660818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artisticTexturizer/>
                    </a14:imgEffect>
                  </a14:imgLayer>
                </a14:imgProps>
              </a:ext>
            </a:extLst>
          </a:blip>
          <a:stretch>
            <a:fillRect/>
          </a:stretch>
        </p:blipFill>
        <p:spPr>
          <a:xfrm>
            <a:off x="0"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21935697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rgbClr val="ECEFEE"/>
        </a:solidFill>
        <a:effectLst/>
      </p:bgPr>
    </p:bg>
    <p:spTree>
      <p:nvGrpSpPr>
        <p:cNvPr id="1" name=""/>
        <p:cNvGrpSpPr/>
        <p:nvPr/>
      </p:nvGrpSpPr>
      <p:grpSpPr>
        <a:xfrm>
          <a:off x="0" y="0"/>
          <a:ext cx="0" cy="0"/>
          <a:chOff x="0" y="0"/>
          <a:chExt cx="0" cy="0"/>
        </a:xfrm>
      </p:grpSpPr>
      <p:pic>
        <p:nvPicPr>
          <p:cNvPr id="16" name="LogoFront">
            <a:extLst>
              <a:ext uri="{FF2B5EF4-FFF2-40B4-BE49-F238E27FC236}">
                <a16:creationId xmlns:a16="http://schemas.microsoft.com/office/drawing/2014/main" id="{A19211C1-9C58-49B8-BDAD-7392EDC49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8045" y="291245"/>
            <a:ext cx="3616416" cy="571113"/>
          </a:xfrm>
          <a:prstGeom prst="rect">
            <a:avLst/>
          </a:prstGeom>
        </p:spPr>
      </p:pic>
      <p:sp>
        <p:nvSpPr>
          <p:cNvPr id="2" name="Title 1"/>
          <p:cNvSpPr>
            <a:spLocks noGrp="1"/>
          </p:cNvSpPr>
          <p:nvPr>
            <p:ph type="ctrTitle" hasCustomPrompt="1"/>
          </p:nvPr>
        </p:nvSpPr>
        <p:spPr>
          <a:xfrm>
            <a:off x="784491" y="3701965"/>
            <a:ext cx="5294103" cy="1161515"/>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7" y="4983982"/>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5" name="Text Placeholder 28">
            <a:extLst>
              <a:ext uri="{FF2B5EF4-FFF2-40B4-BE49-F238E27FC236}">
                <a16:creationId xmlns:a16="http://schemas.microsoft.com/office/drawing/2014/main" id="{D3DE3A87-CF1E-4593-8497-33FF0EE5A4F1}"/>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B3E2D037-FE7E-464C-B5A6-966A230C5E6F}"/>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705FB7C0-9E16-490D-9A7D-C6200DB2E118}"/>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FE4959D-63B4-423B-83FC-545E5BD6D68B}"/>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BA07845E-5463-4BC2-942E-C95E30A90ABB}"/>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E028C9B1-9DAC-4C64-B08A-0C914AFB9919}"/>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33">
                <a:noFill/>
              </a:defRPr>
            </a:lvl1pPr>
          </a:lstStyle>
          <a:p>
            <a:fld id="{92DDE9B4-E20E-4166-9E8A-7669FBF6BC45}" type="datetime2">
              <a:rPr lang="da-DK" smtClean="0"/>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6" y="5960100"/>
            <a:ext cx="10588208"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33" dirty="0"/>
              <a:t>.</a:t>
            </a:r>
          </a:p>
        </p:txBody>
      </p:sp>
    </p:spTree>
    <p:extLst>
      <p:ext uri="{BB962C8B-B14F-4D97-AF65-F5344CB8AC3E}">
        <p14:creationId xmlns:p14="http://schemas.microsoft.com/office/powerpoint/2010/main" val="2694999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01BA31A-B1C7-4864-92FF-C2D007761F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88043" y="291243"/>
            <a:ext cx="3616421"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0" y="1928817"/>
            <a:ext cx="105977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2"/>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BFF4C451-7AA3-40BE-A905-F25D72EE843F}"/>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4808B18D-80F7-4C44-986D-6F9AC4D45966}"/>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AFF83DE7-A30B-423D-AC62-1FA9FF1F96E4}"/>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B20F9D69-23E4-46DB-A6C5-21DBC2280935}"/>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AEFD5C9B-7D64-475A-8DC0-0A2DC33FA952}"/>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B48B16D7-C56B-4011-8873-9FA54D35B149}"/>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33">
                <a:noFill/>
              </a:defRPr>
            </a:lvl1pPr>
          </a:lstStyle>
          <a:p>
            <a:fld id="{11DD6BA7-93C3-470D-B79D-E61545C07AE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6" y="5960100"/>
            <a:ext cx="10588208"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33" dirty="0"/>
              <a:t>.</a:t>
            </a:r>
          </a:p>
        </p:txBody>
      </p:sp>
    </p:spTree>
    <p:extLst>
      <p:ext uri="{BB962C8B-B14F-4D97-AF65-F5344CB8AC3E}">
        <p14:creationId xmlns:p14="http://schemas.microsoft.com/office/powerpoint/2010/main" val="13338679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8" y="1528349"/>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9" y="2975666"/>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7E9BCEF4-7844-49AA-9C29-E26470A377E9}"/>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6B8D684C-6BEA-4C81-AAFE-F31A43720693}"/>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379EB76D-315B-4B5B-B041-FF40201D4F58}"/>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9634AAAC-51EE-4FCD-AAFE-50F5C047DEB9}"/>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B0213CFD-09AF-4AF8-A4A7-0EA8C39AAFE8}"/>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610B61A6-CE0F-4437-AE05-C3AF25F63469}"/>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5C34CD16-008B-4BC1-8633-41223484C5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42824911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5" y="1152000"/>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2"/>
            <a:ext cx="758512" cy="218236"/>
          </a:xfrm>
        </p:spPr>
        <p:txBody>
          <a:bodyPr/>
          <a:lstStyle>
            <a:lvl1pPr marL="0" indent="0">
              <a:lnSpc>
                <a:spcPct val="100000"/>
              </a:lnSpc>
              <a:spcBef>
                <a:spcPts val="0"/>
              </a:spcBef>
              <a:buNone/>
              <a:defRPr sz="900" b="1" cap="all" baseline="0"/>
            </a:lvl1pPr>
            <a:lvl2pPr marL="287998" indent="0">
              <a:buNone/>
              <a:defRPr sz="900" b="1" cap="all" baseline="0"/>
            </a:lvl2pPr>
            <a:lvl3pPr marL="575996" indent="0">
              <a:buNone/>
              <a:defRPr sz="900" b="1" cap="all" baseline="0"/>
            </a:lvl3pPr>
            <a:lvl4pPr marL="575996" indent="0">
              <a:buNone/>
              <a:defRPr sz="900" b="1" cap="all" baseline="0"/>
            </a:lvl4pPr>
            <a:lvl5pPr marL="575996"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8" y="1925483"/>
            <a:ext cx="1630016" cy="218236"/>
          </a:xfrm>
        </p:spPr>
        <p:txBody>
          <a:bodyPr/>
          <a:lstStyle>
            <a:lvl1pPr marL="89999" indent="-89999">
              <a:lnSpc>
                <a:spcPct val="100000"/>
              </a:lnSpc>
              <a:spcBef>
                <a:spcPts val="0"/>
              </a:spcBef>
              <a:buClr>
                <a:schemeClr val="accent2"/>
              </a:buClr>
              <a:buSzPct val="105000"/>
              <a:buFont typeface="Verdana" panose="020B0604030504040204" pitchFamily="34" charset="0"/>
              <a:buChar char="/"/>
              <a:defRPr sz="900"/>
            </a:lvl1pPr>
            <a:lvl2pPr marL="161999" indent="-89999">
              <a:lnSpc>
                <a:spcPct val="100000"/>
              </a:lnSpc>
              <a:spcBef>
                <a:spcPts val="0"/>
              </a:spcBef>
              <a:buClr>
                <a:schemeClr val="accent2"/>
              </a:buClr>
              <a:buSzPct val="105000"/>
              <a:buFont typeface="Verdana" panose="020B0604030504040204" pitchFamily="34" charset="0"/>
              <a:buChar char="/"/>
              <a:defRPr sz="900"/>
            </a:lvl2pPr>
            <a:lvl3pPr marL="161999" indent="-89999">
              <a:lnSpc>
                <a:spcPct val="100000"/>
              </a:lnSpc>
              <a:spcBef>
                <a:spcPts val="0"/>
              </a:spcBef>
              <a:buClr>
                <a:schemeClr val="accent2"/>
              </a:buClr>
              <a:buSzPct val="105000"/>
              <a:buFont typeface="Verdana" panose="020B0604030504040204" pitchFamily="34" charset="0"/>
              <a:buChar char="/"/>
              <a:defRPr sz="900"/>
            </a:lvl3pPr>
            <a:lvl4pPr marL="161999" indent="-89999">
              <a:lnSpc>
                <a:spcPct val="100000"/>
              </a:lnSpc>
              <a:spcBef>
                <a:spcPts val="0"/>
              </a:spcBef>
              <a:buClr>
                <a:schemeClr val="accent2"/>
              </a:buClr>
              <a:buSzPct val="105000"/>
              <a:buFont typeface="Verdana" panose="020B0604030504040204" pitchFamily="34" charset="0"/>
              <a:buChar char="/"/>
              <a:defRPr sz="900"/>
            </a:lvl4pPr>
            <a:lvl5pPr marL="161999" indent="-89999">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7" y="1925482"/>
            <a:ext cx="5421137" cy="4067775"/>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934CEC8A-C8FB-4D28-B7F9-6ADBCE5A9C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
        <p:nvSpPr>
          <p:cNvPr id="29" name="Text Placeholder 28">
            <a:extLst>
              <a:ext uri="{FF2B5EF4-FFF2-40B4-BE49-F238E27FC236}">
                <a16:creationId xmlns:a16="http://schemas.microsoft.com/office/drawing/2014/main" id="{0CBE291E-A39A-4D78-B002-E385589298F0}"/>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1" name="Text Placeholder 30">
            <a:extLst>
              <a:ext uri="{FF2B5EF4-FFF2-40B4-BE49-F238E27FC236}">
                <a16:creationId xmlns:a16="http://schemas.microsoft.com/office/drawing/2014/main" id="{70788863-F29D-4DE5-90CC-3EF8B12EC366}"/>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09146066-3DCB-44AE-B43D-B9D761EC357B}"/>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5" name="Text Placeholder 34">
            <a:extLst>
              <a:ext uri="{FF2B5EF4-FFF2-40B4-BE49-F238E27FC236}">
                <a16:creationId xmlns:a16="http://schemas.microsoft.com/office/drawing/2014/main" id="{692A915D-BEA5-4D6F-8BF7-A5B68A999DE0}"/>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7" name="Text Placeholder 36">
            <a:extLst>
              <a:ext uri="{FF2B5EF4-FFF2-40B4-BE49-F238E27FC236}">
                <a16:creationId xmlns:a16="http://schemas.microsoft.com/office/drawing/2014/main" id="{A92BD5EC-A833-473A-A79D-35C8B688BA98}"/>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39" name="Text Placeholder 38">
            <a:extLst>
              <a:ext uri="{FF2B5EF4-FFF2-40B4-BE49-F238E27FC236}">
                <a16:creationId xmlns:a16="http://schemas.microsoft.com/office/drawing/2014/main" id="{033D8A34-DEB1-46EB-A823-B0FE017E121F}"/>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BAA77621-2D73-49DA-91DA-EA1D854BA704}"/>
              </a:ext>
            </a:extLst>
          </p:cNvPr>
          <p:cNvSpPr>
            <a:spLocks noGrp="1"/>
          </p:cNvSpPr>
          <p:nvPr>
            <p:ph type="ftr" sz="quarter" idx="34"/>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Tree>
    <p:extLst>
      <p:ext uri="{BB962C8B-B14F-4D97-AF65-F5344CB8AC3E}">
        <p14:creationId xmlns:p14="http://schemas.microsoft.com/office/powerpoint/2010/main" val="20740497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7"/>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6" y="1152000"/>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5"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6" y="5454665"/>
            <a:ext cx="10593959" cy="542135"/>
          </a:xfrm>
        </p:spPr>
        <p:txBody>
          <a:bodyPr anchor="b" anchorCtr="0"/>
          <a:lstStyle>
            <a:lvl1pPr marL="108000" indent="-108000">
              <a:lnSpc>
                <a:spcPct val="114000"/>
              </a:lnSpc>
              <a:spcBef>
                <a:spcPts val="0"/>
              </a:spcBef>
              <a:buFont typeface="Verdana" panose="020B0604030504040204" pitchFamily="34" charset="0"/>
              <a:buChar char="*"/>
              <a:defRPr sz="900"/>
            </a:lvl1pPr>
            <a:lvl2pPr marL="108000" indent="-108000">
              <a:lnSpc>
                <a:spcPct val="114000"/>
              </a:lnSpc>
              <a:spcBef>
                <a:spcPts val="0"/>
              </a:spcBef>
              <a:buFont typeface="Verdana" panose="020B0604030504040204" pitchFamily="34" charset="0"/>
              <a:buChar char="*"/>
              <a:defRPr sz="900"/>
            </a:lvl2pPr>
            <a:lvl3pPr marL="108000" indent="-108000">
              <a:lnSpc>
                <a:spcPct val="114000"/>
              </a:lnSpc>
              <a:spcBef>
                <a:spcPts val="0"/>
              </a:spcBef>
              <a:buFont typeface="Verdana" panose="020B0604030504040204" pitchFamily="34" charset="0"/>
              <a:buChar char="*"/>
              <a:defRPr sz="900"/>
            </a:lvl3pPr>
            <a:lvl4pPr marL="108000" indent="-108000">
              <a:lnSpc>
                <a:spcPct val="114000"/>
              </a:lnSpc>
              <a:spcBef>
                <a:spcPts val="0"/>
              </a:spcBef>
              <a:buFont typeface="Verdana" panose="020B0604030504040204" pitchFamily="34" charset="0"/>
              <a:buChar char="*"/>
              <a:defRPr sz="900"/>
            </a:lvl4pPr>
            <a:lvl5pPr marL="108000" indent="-108000">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26" name="Text Placeholder 28">
            <a:extLst>
              <a:ext uri="{FF2B5EF4-FFF2-40B4-BE49-F238E27FC236}">
                <a16:creationId xmlns:a16="http://schemas.microsoft.com/office/drawing/2014/main" id="{1A051163-6038-4920-809A-D73587027C76}"/>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32" name="Text Placeholder 30">
            <a:extLst>
              <a:ext uri="{FF2B5EF4-FFF2-40B4-BE49-F238E27FC236}">
                <a16:creationId xmlns:a16="http://schemas.microsoft.com/office/drawing/2014/main" id="{5BD4DB94-9804-45CC-829B-42B37DBB56F8}"/>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33" name="Text Placeholder 32">
            <a:extLst>
              <a:ext uri="{FF2B5EF4-FFF2-40B4-BE49-F238E27FC236}">
                <a16:creationId xmlns:a16="http://schemas.microsoft.com/office/drawing/2014/main" id="{58A02741-E5A1-4542-A2E3-35E3337B1705}"/>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34" name="Text Placeholder 34">
            <a:extLst>
              <a:ext uri="{FF2B5EF4-FFF2-40B4-BE49-F238E27FC236}">
                <a16:creationId xmlns:a16="http://schemas.microsoft.com/office/drawing/2014/main" id="{7E01B134-9F29-42B9-A91F-5094A87B6180}"/>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35" name="Text Placeholder 36">
            <a:extLst>
              <a:ext uri="{FF2B5EF4-FFF2-40B4-BE49-F238E27FC236}">
                <a16:creationId xmlns:a16="http://schemas.microsoft.com/office/drawing/2014/main" id="{7C13745A-AEDD-458B-A87E-8DD87249A6F9}"/>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36" name="Text Placeholder 38">
            <a:extLst>
              <a:ext uri="{FF2B5EF4-FFF2-40B4-BE49-F238E27FC236}">
                <a16:creationId xmlns:a16="http://schemas.microsoft.com/office/drawing/2014/main" id="{E545F827-6161-46FC-906F-9CF3B1C6409F}"/>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BEDA8DD-5684-41C1-819A-3C452F6F5E5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698589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7" y="1150631"/>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5383"/>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1" y="1150635"/>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FECFB662-B7B7-40F5-85A4-07C6A6BB8949}"/>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1E725BF-BFED-41E8-BFFA-51E04A8FEFAD}"/>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0449CE72-C965-45BF-B3FB-FDA2557217CC}"/>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D2059333-0D49-491B-B740-DEC7CA90D87D}"/>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F6E69A8B-42EA-4579-BA70-25AF3D6BF54C}"/>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D9B19022-F00E-4A36-A34E-412BD79B5DBC}"/>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9798D945-A512-4B40-808D-20047F570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2530011436"/>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7" y="1150631"/>
            <a:ext cx="503368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8" y="2075384"/>
            <a:ext cx="5033753"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1"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74BC8EDD-67B4-429E-AA41-8DE45F7A4165}"/>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5981FD92-853F-4EF4-AB6A-CB3D58EABC53}"/>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8344DC34-B415-4C79-83EC-FD18BB13B232}"/>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7C4FAB30-1C07-456C-A9BB-7801F945DD4A}"/>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B5A9E7A4-DD51-4138-BF52-C82A0D1F04B2}"/>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DC249281-EF66-4F7E-AC42-D497D19E4F62}"/>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56F07596-996D-4575-A2A3-5376224453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1878718040"/>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7" y="1150631"/>
            <a:ext cx="5033685"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7" y="2077200"/>
            <a:ext cx="5033221" cy="1357939"/>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4"/>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6"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3"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71EE84BD-B6F2-4D6F-9341-F05F2F9371C1}"/>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981951D-EA32-4B8C-98C7-6CC29CC3343F}"/>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985677D0-2910-4BE6-B9AD-63E027FCBB8B}"/>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A9A7AEA-2CCB-4B7C-9A41-05A2536073D9}"/>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E0F4DF8F-C91D-47EE-878E-88A75593993A}"/>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3D20EC0-5FE2-452A-95AC-E2227ACA46A0}"/>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B4716AE2-37B0-4F3D-93A2-B5C1D963D5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259311111"/>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6" y="786306"/>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1" y="3552805"/>
            <a:ext cx="2524783" cy="2418984"/>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79998" indent="-179998">
              <a:spcBef>
                <a:spcPts val="1500"/>
              </a:spcBef>
              <a:defRPr sz="1000">
                <a:solidFill>
                  <a:schemeClr val="bg1"/>
                </a:solidFill>
              </a:defRPr>
            </a:lvl3pPr>
            <a:lvl4pPr marL="359998" indent="-179998">
              <a:spcBef>
                <a:spcPts val="1500"/>
              </a:spcBef>
              <a:defRPr sz="1000">
                <a:solidFill>
                  <a:schemeClr val="bg1"/>
                </a:solidFill>
              </a:defRPr>
            </a:lvl4pPr>
            <a:lvl5pPr marL="539996" indent="-179998">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B03EAE59-59BA-4091-9CB9-19715B94192D}"/>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763BCE0C-4272-4C03-A0DC-93F475399586}"/>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B7DE799-E755-4363-8C5A-9F408356B7ED}"/>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C39AE7FF-4B14-4C3C-8FD9-4585E3844BC6}"/>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182E7B8C-D281-46BD-8DF2-62C10DE76AD8}"/>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E3F5B324-236B-4577-971D-CFA0CBDF130A}"/>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endParaRPr lang="da-DK" dirty="0"/>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58039C2-81DC-48AD-9E34-AE4253D547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116926339"/>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6"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7A139209-2B0E-45A0-A5BB-3F089D1BB6E3}"/>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65B7337B-0AB1-4388-A313-A61391ADF5CA}"/>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0A6CDB6A-641A-447E-A32D-F7D87A530E52}"/>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6BC8E76A-C235-4184-8FB8-BDE06D9B92B3}"/>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DDCFF06A-ADD6-4BB6-96B8-B89E476B454F}"/>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5FFA91E3-3B17-4E6F-B153-399A48D7092D}"/>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endParaRPr lang="da-DK" dirty="0"/>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1A56DEB6-F279-4755-B90D-FBCA2DFB35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1607454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9A3F990-A1E2-45D7-BB03-B5F658ACB1D2}"/>
              </a:ext>
            </a:extLst>
          </p:cNvPr>
          <p:cNvSpPr>
            <a:spLocks noGrp="1"/>
          </p:cNvSpPr>
          <p:nvPr>
            <p:ph type="pic" sz="quarter" idx="13" hasCustomPrompt="1"/>
          </p:nvPr>
        </p:nvSpPr>
        <p:spPr>
          <a:xfrm>
            <a:off x="0" y="0"/>
            <a:ext cx="12192000" cy="6858000"/>
          </a:xfrm>
        </p:spPr>
        <p:txBody>
          <a:bodyPr tIns="720000" anchor="ctr" anchorCtr="0"/>
          <a:lstStyle>
            <a:lvl1pPr marL="0" indent="0" algn="ctr">
              <a:buNone/>
              <a:defRPr/>
            </a:lvl1pPr>
          </a:lstStyle>
          <a:p>
            <a:r>
              <a:rPr lang="da-DK" dirty="0"/>
              <a:t>Klik på ikonet for at tilføje et billede</a:t>
            </a:r>
          </a:p>
        </p:txBody>
      </p:sp>
      <p:pic>
        <p:nvPicPr>
          <p:cNvPr id="4" name="Billed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
        <p:nvSpPr>
          <p:cNvPr id="2" name="Title 1"/>
          <p:cNvSpPr>
            <a:spLocks noGrp="1"/>
          </p:cNvSpPr>
          <p:nvPr>
            <p:ph type="ctrTitle" hasCustomPrompt="1"/>
          </p:nvPr>
        </p:nvSpPr>
        <p:spPr>
          <a:xfrm>
            <a:off x="868515" y="4233735"/>
            <a:ext cx="10845135" cy="580800"/>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3" y="4905547"/>
            <a:ext cx="43200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0" name="Bottom box">
            <a:extLst>
              <a:ext uri="{FF2B5EF4-FFF2-40B4-BE49-F238E27FC236}">
                <a16:creationId xmlns:a16="http://schemas.microsoft.com/office/drawing/2014/main" id="{CF54AAEE-85E1-4F0A-A35B-41D12ECDD6E6}"/>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450" indent="-171450">
              <a:buFont typeface="Arial" panose="020B0604020202020204" pitchFamily="34" charset="0"/>
              <a:buChar char="•"/>
              <a:defRPr sz="100"/>
            </a:lvl2pPr>
            <a:lvl3pPr marL="747450" indent="-171450">
              <a:buFont typeface="Arial" panose="020B0604020202020204" pitchFamily="34" charset="0"/>
              <a:buChar char="•"/>
              <a:defRPr sz="100"/>
            </a:lvl3pPr>
            <a:lvl4pPr marL="747450" indent="-171450">
              <a:buFont typeface="Arial" panose="020B0604020202020204" pitchFamily="34" charset="0"/>
              <a:buChar char="•"/>
              <a:defRPr sz="100"/>
            </a:lvl4pPr>
            <a:lvl5pPr marL="747450" indent="-171450">
              <a:buFont typeface="Arial" panose="020B0604020202020204" pitchFamily="34" charset="0"/>
              <a:buChar char="•"/>
              <a:defRPr sz="100"/>
            </a:lvl5pPr>
          </a:lstStyle>
          <a:p>
            <a:pPr lvl="0"/>
            <a:r>
              <a:rPr lang="da-DK" dirty="0"/>
              <a: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7029447"/>
            <a:ext cx="0" cy="0"/>
          </a:xfrm>
        </p:spPr>
        <p:txBody>
          <a:bodyPr/>
          <a:lstStyle>
            <a:lvl1pPr>
              <a:defRPr sz="100">
                <a:noFill/>
              </a:defRPr>
            </a:lvl1pPr>
          </a:lstStyle>
          <a:p>
            <a:fld id="{9EACCC4A-893E-4B6A-A217-166559D2F8BC}"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7029447"/>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7029447"/>
            <a:ext cx="0" cy="0"/>
          </a:xfrm>
        </p:spPr>
        <p:txBody>
          <a:bodyPr/>
          <a:lstStyle>
            <a:lvl1pPr>
              <a:defRPr sz="100">
                <a:noFill/>
              </a:defRPr>
            </a:lvl1pPr>
          </a:lstStyle>
          <a:p>
            <a:fld id="{24C8C45C-947F-4981-8B3F-4F32E973C901}" type="slidenum">
              <a:rPr lang="da-DK" smtClean="0"/>
              <a:pPr/>
              <a:t>‹nr.›</a:t>
            </a:fld>
            <a:endParaRPr lang="da-DK" dirty="0"/>
          </a:p>
        </p:txBody>
      </p:sp>
      <p:sp>
        <p:nvSpPr>
          <p:cNvPr id="26" name="Tjenestebrug" descr="Tilføj klassifikation" title="Klassifikation">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7"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9"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376265" y="6460216"/>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30"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376283" y="661796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32" name="Date Placeholder 2">
            <a:extLst>
              <a:ext uri="{FF2B5EF4-FFF2-40B4-BE49-F238E27FC236}">
                <a16:creationId xmlns:a16="http://schemas.microsoft.com/office/drawing/2014/main" id="{7A1007AC-71D9-4C3B-BE94-4486EE7499EB}"/>
              </a:ext>
            </a:extLst>
          </p:cNvPr>
          <p:cNvSpPr txBox="1">
            <a:spLocks/>
          </p:cNvSpPr>
          <p:nvPr userDrawn="1"/>
        </p:nvSpPr>
        <p:spPr>
          <a:xfrm>
            <a:off x="203200" y="7114735"/>
            <a:ext cx="0" cy="0"/>
          </a:xfrm>
          <a:prstGeom prst="rect">
            <a:avLst/>
          </a:prstGeom>
        </p:spPr>
        <p:txBody>
          <a:bodyPr vert="horz" wrap="square" lIns="0" tIns="0" rIns="0" bIns="0" rtlCol="0" anchor="ctr"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0C60E8-3CEA-426D-9F52-92B3EDD7F172}" type="datetime2">
              <a:rPr lang="da-DK" sz="100" smtClean="0"/>
              <a:pPr/>
              <a:t>4. februar 2025</a:t>
            </a:fld>
            <a:endParaRPr lang="da-DK" sz="100" dirty="0"/>
          </a:p>
        </p:txBody>
      </p:sp>
      <p:sp>
        <p:nvSpPr>
          <p:cNvPr id="33" name="Slide Number Placeholder 4">
            <a:extLst>
              <a:ext uri="{FF2B5EF4-FFF2-40B4-BE49-F238E27FC236}">
                <a16:creationId xmlns:a16="http://schemas.microsoft.com/office/drawing/2014/main" id="{73D9D80D-E108-4E26-A9C4-A691F717C41D}"/>
              </a:ext>
            </a:extLst>
          </p:cNvPr>
          <p:cNvSpPr txBox="1">
            <a:spLocks/>
          </p:cNvSpPr>
          <p:nvPr userDrawn="1"/>
        </p:nvSpPr>
        <p:spPr>
          <a:xfrm flipV="1">
            <a:off x="203200" y="7114735"/>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b"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100" smtClean="0"/>
              <a:pPr/>
              <a:t>‹nr.›</a:t>
            </a:fld>
            <a:endParaRPr lang="da-DK" sz="100" dirty="0"/>
          </a:p>
        </p:txBody>
      </p:sp>
      <p:pic>
        <p:nvPicPr>
          <p:cNvPr id="18" name="Picture 2" descr="http://team.msp.forsvaret.fiin.dk/sites/Haerkommandoen/SiteAssets/SitePages/Startside/haermaerke.gif"/>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524026"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19" name="Tekstboks 18"/>
          <p:cNvSpPr txBox="1"/>
          <p:nvPr userDrawn="1"/>
        </p:nvSpPr>
        <p:spPr>
          <a:xfrm>
            <a:off x="10524010"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spTree>
    <p:extLst>
      <p:ext uri="{BB962C8B-B14F-4D97-AF65-F5344CB8AC3E}">
        <p14:creationId xmlns:p14="http://schemas.microsoft.com/office/powerpoint/2010/main" val="26175810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B25BF14F-65D8-4DC3-85D7-3FAE00888417}"/>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4AFD3AAB-1AB2-4E31-88C0-0590AE710D51}"/>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948D74FF-4948-48F4-AB03-0880EDBDABCB}"/>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AAA60055-A503-495E-9CCF-B806234DB421}"/>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4AFF9F4C-59A1-41EA-9064-0B921A34AA8D}"/>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9E81E31-ADBA-40E5-BA66-ED2BA0B4B18D}"/>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fld id="{04E28649-079F-4D0A-9D20-603F9FA57290}" type="datetime2">
              <a:rPr lang="da-DK" smtClean="0"/>
              <a:pPr/>
              <a:t>4. februar 2025</a:t>
            </a:fld>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endParaRPr lang="da-DK" dirty="0"/>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7" y="6319767"/>
            <a:ext cx="45732" cy="372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ABDD9822-0569-4243-9647-E62032E356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spTree>
    <p:extLst>
      <p:ext uri="{BB962C8B-B14F-4D97-AF65-F5344CB8AC3E}">
        <p14:creationId xmlns:p14="http://schemas.microsoft.com/office/powerpoint/2010/main" val="39345733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rgbClr val="ECEFEE"/>
        </a:solidFill>
        <a:effectLst/>
      </p:bgPr>
    </p:bg>
    <p:spTree>
      <p:nvGrpSpPr>
        <p:cNvPr id="1" name=""/>
        <p:cNvGrpSpPr/>
        <p:nvPr/>
      </p:nvGrpSpPr>
      <p:grpSpPr>
        <a:xfrm>
          <a:off x="0" y="0"/>
          <a:ext cx="0" cy="0"/>
          <a:chOff x="0" y="0"/>
          <a:chExt cx="0" cy="0"/>
        </a:xfrm>
      </p:grpSpPr>
      <p:pic>
        <p:nvPicPr>
          <p:cNvPr id="17" name="LogoEnd">
            <a:extLst>
              <a:ext uri="{FF2B5EF4-FFF2-40B4-BE49-F238E27FC236}">
                <a16:creationId xmlns:a16="http://schemas.microsoft.com/office/drawing/2014/main" id="{D985997B-474E-4272-ADCF-5AB1F4973A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7553" y="4653652"/>
            <a:ext cx="3506944" cy="553825"/>
          </a:xfrm>
          <a:prstGeom prst="rect">
            <a:avLst/>
          </a:prstGeom>
        </p:spPr>
      </p:pic>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1"/>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5"/>
            <a:ext cx="2880003" cy="108000"/>
          </a:xfrm>
        </p:spPr>
        <p:txBody>
          <a:bodyPr anchor="ctr" anchorCtr="0"/>
          <a:lstStyle>
            <a:lvl1pPr marL="0" indent="0">
              <a:lnSpc>
                <a:spcPct val="100000"/>
              </a:lnSpc>
              <a:spcBef>
                <a:spcPts val="0"/>
              </a:spcBef>
              <a:buNone/>
              <a:tabLst>
                <a:tab pos="40679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79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E332AB23-F561-4DF7-8782-B29F03FBDE51}"/>
              </a:ext>
            </a:extLst>
          </p:cNvPr>
          <p:cNvSpPr>
            <a:spLocks noGrp="1"/>
          </p:cNvSpPr>
          <p:nvPr>
            <p:ph type="body" sz="quarter" idx="41" hasCustomPrompt="1"/>
          </p:nvPr>
        </p:nvSpPr>
        <p:spPr>
          <a:xfrm>
            <a:off x="4173488" y="90000"/>
            <a:ext cx="3845801"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9AD94BC8-CEF1-4BD9-B95B-7C4D67486DEE}"/>
              </a:ext>
            </a:extLst>
          </p:cNvPr>
          <p:cNvSpPr>
            <a:spLocks noGrp="1"/>
          </p:cNvSpPr>
          <p:nvPr>
            <p:ph type="body" sz="quarter" idx="42" hasCustomPrompt="1"/>
          </p:nvPr>
        </p:nvSpPr>
        <p:spPr>
          <a:xfrm>
            <a:off x="4173488" y="248400"/>
            <a:ext cx="3845801"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CDEE92B3-F89F-486A-9C94-51F7C114B29C}"/>
              </a:ext>
            </a:extLst>
          </p:cNvPr>
          <p:cNvSpPr>
            <a:spLocks noGrp="1"/>
          </p:cNvSpPr>
          <p:nvPr>
            <p:ph type="body" sz="quarter" idx="43" hasCustomPrompt="1"/>
          </p:nvPr>
        </p:nvSpPr>
        <p:spPr>
          <a:xfrm>
            <a:off x="4173488" y="360000"/>
            <a:ext cx="3845801"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2DB1B660-0E6D-4CEA-9C46-B9750DC161E0}"/>
              </a:ext>
            </a:extLst>
          </p:cNvPr>
          <p:cNvSpPr>
            <a:spLocks noGrp="1"/>
          </p:cNvSpPr>
          <p:nvPr>
            <p:ph type="body" sz="quarter" idx="44" hasCustomPrompt="1"/>
          </p:nvPr>
        </p:nvSpPr>
        <p:spPr>
          <a:xfrm>
            <a:off x="4173488" y="6278400"/>
            <a:ext cx="3845801"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F68C72E4-B167-45DB-9D40-D21E6C21C422}"/>
              </a:ext>
            </a:extLst>
          </p:cNvPr>
          <p:cNvSpPr>
            <a:spLocks noGrp="1"/>
          </p:cNvSpPr>
          <p:nvPr>
            <p:ph type="body" sz="quarter" idx="45" hasCustomPrompt="1"/>
          </p:nvPr>
        </p:nvSpPr>
        <p:spPr>
          <a:xfrm>
            <a:off x="4173488" y="6433200"/>
            <a:ext cx="3845801" cy="126000"/>
          </a:xfrm>
        </p:spPr>
        <p:txBody>
          <a:bodyPr anchor="ctr" anchorCtr="0"/>
          <a:lstStyle>
            <a:lvl1pPr marL="0" indent="0" algn="ctr" defTabSz="179384">
              <a:lnSpc>
                <a:spcPct val="100000"/>
              </a:lnSpc>
              <a:spcBef>
                <a:spcPts val="0"/>
              </a:spcBef>
              <a:buNone/>
              <a:defRPr sz="700" cap="all" baseline="0"/>
            </a:lvl1pPr>
            <a:lvl2pPr marL="0" indent="0" algn="ctr" defTabSz="179384">
              <a:lnSpc>
                <a:spcPct val="100000"/>
              </a:lnSpc>
              <a:spcBef>
                <a:spcPts val="0"/>
              </a:spcBef>
              <a:buNone/>
              <a:defRPr sz="700" cap="all" baseline="0"/>
            </a:lvl2pPr>
            <a:lvl3pPr marL="0" indent="0" algn="ctr" defTabSz="179384">
              <a:lnSpc>
                <a:spcPct val="100000"/>
              </a:lnSpc>
              <a:spcBef>
                <a:spcPts val="0"/>
              </a:spcBef>
              <a:buNone/>
              <a:defRPr sz="700" cap="all" baseline="0"/>
            </a:lvl3pPr>
            <a:lvl4pPr marL="0" indent="0" algn="ctr" defTabSz="179384">
              <a:lnSpc>
                <a:spcPct val="100000"/>
              </a:lnSpc>
              <a:spcBef>
                <a:spcPts val="0"/>
              </a:spcBef>
              <a:buNone/>
              <a:defRPr sz="700" cap="all" baseline="0"/>
            </a:lvl4pPr>
            <a:lvl5pPr marL="0" indent="0" algn="ctr" defTabSz="179384">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4BFD72C4-3B1E-4408-A5E5-8E6B3B53483D}"/>
              </a:ext>
            </a:extLst>
          </p:cNvPr>
          <p:cNvSpPr>
            <a:spLocks noGrp="1"/>
          </p:cNvSpPr>
          <p:nvPr>
            <p:ph type="body" sz="quarter" idx="46" hasCustomPrompt="1"/>
          </p:nvPr>
        </p:nvSpPr>
        <p:spPr>
          <a:xfrm>
            <a:off x="4173488" y="6544800"/>
            <a:ext cx="3845801"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33">
                <a:noFill/>
              </a:defRPr>
            </a:lvl1pPr>
          </a:lstStyle>
          <a:p>
            <a:fld id="{CDDADBF2-AF97-44F7-AB18-97D454ABE463}" type="datetime2">
              <a:rPr lang="da-DK" smtClean="0"/>
              <a:pPr/>
              <a:t>4. februar 2025</a:t>
            </a:fld>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5559693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31" name="Text Box 2"/>
          <p:cNvSpPr txBox="1">
            <a:spLocks noChangeArrowheads="1"/>
          </p:cNvSpPr>
          <p:nvPr userDrawn="1"/>
        </p:nvSpPr>
        <p:spPr bwMode="auto">
          <a:xfrm>
            <a:off x="8535545" y="1532530"/>
            <a:ext cx="3021177"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æt den på igen ved at klikke på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isteniveau bruges</a:t>
            </a:r>
          </a:p>
          <a:p>
            <a:pPr marL="0" marR="0" lvl="0" indent="0" algn="l" defTabSz="914392" rtl="0" eaLnBrk="1" fontAlgn="auto" latinLnBrk="0" hangingPunct="1">
              <a:lnSpc>
                <a:spcPct val="100000"/>
              </a:lnSpc>
              <a:spcBef>
                <a:spcPts val="1200"/>
              </a:spcBef>
              <a:spcAft>
                <a:spcPts val="600"/>
              </a:spcAft>
              <a:buClrTx/>
              <a:buSzTx/>
              <a:buFont typeface="+mj-lt"/>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392"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392"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 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dato og sidefo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lle slides</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indtast evt. tekst i sidefo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p:txBody>
      </p:sp>
      <p:sp>
        <p:nvSpPr>
          <p:cNvPr id="9" name="Fast overskrift"/>
          <p:cNvSpPr txBox="1"/>
          <p:nvPr userDrawn="1"/>
        </p:nvSpPr>
        <p:spPr>
          <a:xfrm>
            <a:off x="801898" y="869068"/>
            <a:ext cx="10641540" cy="650171"/>
          </a:xfrm>
          <a:prstGeom prst="rect">
            <a:avLst/>
          </a:prstGeom>
          <a:noFill/>
        </p:spPr>
        <p:txBody>
          <a:bodyPr wrap="square" lIns="0" tIns="0" rIns="0" bIns="0" rtlCol="0" anchor="t"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33">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33">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33">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801897" y="1527330"/>
            <a:ext cx="290888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yndighe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alle slides i venstre side (Ctrl+A)</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ma.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yndighedsnavn vises ved Mouse over</a:t>
            </a:r>
          </a:p>
          <a:p>
            <a:pPr marL="0" marR="0" lvl="0" indent="0" algn="l" defTabSz="914392"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0"/>
              </a:spcBef>
              <a:spcAft>
                <a:spcPts val="600"/>
              </a:spcAft>
              <a:buClrTx/>
              <a:buSzTx/>
              <a:buFontTx/>
              <a:buNone/>
              <a:tabLst/>
              <a:defRPr/>
            </a:pP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tema og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slides</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 vises logo og tilhørend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skema på alle slide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lse af mærke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ørst myndighe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dernæs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lide Master,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øverste layout</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Klik til venstre for sidetal på første layout og fang den hvide boks. Højreklik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Udsk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mærke (.png-fil)</a:t>
            </a: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aggrundsbillede på forsiden</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baggrunden,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atér Baggrun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 strukturfyld</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ra Fil</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ing af baggrundsbillede gøres inden indsættelse hvis der ønskes specielt udsnit</a:t>
            </a:r>
          </a:p>
        </p:txBody>
      </p:sp>
      <p:sp>
        <p:nvSpPr>
          <p:cNvPr id="23" name="Text Box 2"/>
          <p:cNvSpPr txBox="1">
            <a:spLocks noChangeArrowheads="1"/>
          </p:cNvSpPr>
          <p:nvPr userDrawn="1"/>
        </p:nvSpPr>
        <p:spPr bwMode="auto">
          <a:xfrm>
            <a:off x="5204043" y="1527330"/>
            <a:ext cx="2340301"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tartsid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Dias </a:t>
            </a:r>
            <a:b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BS! </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un</a:t>
            </a:r>
            <a:r>
              <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ides fra den valgte myndighed, ellers vises forkert logo</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392"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hold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du trækker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 billedets hjørner</a:t>
            </a:r>
          </a:p>
          <a:p>
            <a:pPr marL="0" marR="0" lvl="0" indent="0" algn="l" defTabSz="914392"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indsætter et nyt, kan billedet lægge sig foran tekst og grafik. Hvis dette sker, højreklik på billedet og 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B15DE49A-D706-49C7-8B9D-C6E0D0CEAE3C}"/>
              </a:ext>
            </a:extLst>
          </p:cNvPr>
          <p:cNvPicPr>
            <a:picLocks noChangeAspect="1"/>
          </p:cNvPicPr>
          <p:nvPr userDrawn="1"/>
        </p:nvPicPr>
        <p:blipFill>
          <a:blip r:embed="rId2"/>
          <a:stretch>
            <a:fillRect/>
          </a:stretch>
        </p:blipFill>
        <p:spPr>
          <a:xfrm>
            <a:off x="11036817" y="2331699"/>
            <a:ext cx="333420" cy="219048"/>
          </a:xfrm>
          <a:prstGeom prst="rect">
            <a:avLst/>
          </a:prstGeom>
        </p:spPr>
      </p:pic>
      <p:pic>
        <p:nvPicPr>
          <p:cNvPr id="28" name="1 Forøg formindsk">
            <a:extLst>
              <a:ext uri="{FF2B5EF4-FFF2-40B4-BE49-F238E27FC236}">
                <a16:creationId xmlns:a16="http://schemas.microsoft.com/office/drawing/2014/main" id="{CEB69AE5-687E-419D-A55F-E487AC302497}"/>
              </a:ext>
            </a:extLst>
          </p:cNvPr>
          <p:cNvPicPr>
            <a:picLocks noChangeAspect="1"/>
          </p:cNvPicPr>
          <p:nvPr userDrawn="1"/>
        </p:nvPicPr>
        <p:blipFill>
          <a:blip r:embed="rId3"/>
          <a:stretch>
            <a:fillRect/>
          </a:stretch>
        </p:blipFill>
        <p:spPr>
          <a:xfrm>
            <a:off x="10893966" y="2726282"/>
            <a:ext cx="549471" cy="285228"/>
          </a:xfrm>
          <a:prstGeom prst="rect">
            <a:avLst/>
          </a:prstGeom>
        </p:spPr>
      </p:pic>
      <p:pic>
        <p:nvPicPr>
          <p:cNvPr id="29" name="2 Ny slide">
            <a:extLst>
              <a:ext uri="{FF2B5EF4-FFF2-40B4-BE49-F238E27FC236}">
                <a16:creationId xmlns:a16="http://schemas.microsoft.com/office/drawing/2014/main" id="{15FEBEC5-3544-4D6D-BEE7-FF3B1F66C583}"/>
              </a:ext>
            </a:extLst>
          </p:cNvPr>
          <p:cNvPicPr>
            <a:picLocks noChangeAspect="1"/>
          </p:cNvPicPr>
          <p:nvPr userDrawn="1"/>
        </p:nvPicPr>
        <p:blipFill rotWithShape="1">
          <a:blip r:embed="rId4"/>
          <a:srcRect l="2931" r="60888"/>
          <a:stretch/>
        </p:blipFill>
        <p:spPr>
          <a:xfrm>
            <a:off x="7424180" y="1729552"/>
            <a:ext cx="363808" cy="647461"/>
          </a:xfrm>
          <a:prstGeom prst="rect">
            <a:avLst/>
          </a:prstGeom>
        </p:spPr>
      </p:pic>
      <p:pic>
        <p:nvPicPr>
          <p:cNvPr id="36" name="3 Layout">
            <a:extLst>
              <a:ext uri="{FF2B5EF4-FFF2-40B4-BE49-F238E27FC236}">
                <a16:creationId xmlns:a16="http://schemas.microsoft.com/office/drawing/2014/main" id="{6FF1287C-BF9A-43AF-BCD0-BAEDCF6A3E4F}"/>
              </a:ext>
            </a:extLst>
          </p:cNvPr>
          <p:cNvPicPr>
            <a:picLocks noChangeAspect="1"/>
          </p:cNvPicPr>
          <p:nvPr userDrawn="1"/>
        </p:nvPicPr>
        <p:blipFill rotWithShape="1">
          <a:blip r:embed="rId4"/>
          <a:srcRect l="36944" r="2272" b="69429"/>
          <a:stretch/>
        </p:blipFill>
        <p:spPr>
          <a:xfrm>
            <a:off x="7424179" y="2637672"/>
            <a:ext cx="593523" cy="192211"/>
          </a:xfrm>
          <a:prstGeom prst="rect">
            <a:avLst/>
          </a:prstGeom>
        </p:spPr>
      </p:pic>
      <p:pic>
        <p:nvPicPr>
          <p:cNvPr id="37" name="4 Nulstil">
            <a:extLst>
              <a:ext uri="{FF2B5EF4-FFF2-40B4-BE49-F238E27FC236}">
                <a16:creationId xmlns:a16="http://schemas.microsoft.com/office/drawing/2014/main" id="{A5EF829E-F701-44EF-8539-1321E27FF689}"/>
              </a:ext>
            </a:extLst>
          </p:cNvPr>
          <p:cNvPicPr>
            <a:picLocks noChangeAspect="1"/>
          </p:cNvPicPr>
          <p:nvPr userDrawn="1"/>
        </p:nvPicPr>
        <p:blipFill>
          <a:blip r:embed="rId5"/>
          <a:stretch>
            <a:fillRect/>
          </a:stretch>
        </p:blipFill>
        <p:spPr>
          <a:xfrm>
            <a:off x="10893965" y="3453261"/>
            <a:ext cx="547384" cy="197799"/>
          </a:xfrm>
          <a:prstGeom prst="rect">
            <a:avLst/>
          </a:prstGeom>
        </p:spPr>
      </p:pic>
      <p:pic>
        <p:nvPicPr>
          <p:cNvPr id="38" name="5 Indsæt billede">
            <a:extLst>
              <a:ext uri="{FF2B5EF4-FFF2-40B4-BE49-F238E27FC236}">
                <a16:creationId xmlns:a16="http://schemas.microsoft.com/office/drawing/2014/main" id="{3D3C226B-A300-4773-A813-316D83446DEB}"/>
              </a:ext>
            </a:extLst>
          </p:cNvPr>
          <p:cNvPicPr>
            <a:picLocks noChangeAspect="1"/>
          </p:cNvPicPr>
          <p:nvPr userDrawn="1"/>
        </p:nvPicPr>
        <p:blipFill>
          <a:blip r:embed="rId6"/>
          <a:stretch>
            <a:fillRect/>
          </a:stretch>
        </p:blipFill>
        <p:spPr>
          <a:xfrm>
            <a:off x="7422381" y="4215766"/>
            <a:ext cx="262219" cy="256055"/>
          </a:xfrm>
          <a:prstGeom prst="rect">
            <a:avLst/>
          </a:prstGeom>
        </p:spPr>
      </p:pic>
      <p:pic>
        <p:nvPicPr>
          <p:cNvPr id="39" name="6 Beskær">
            <a:extLst>
              <a:ext uri="{FF2B5EF4-FFF2-40B4-BE49-F238E27FC236}">
                <a16:creationId xmlns:a16="http://schemas.microsoft.com/office/drawing/2014/main" id="{F5EB7714-1BAF-4615-8F42-CE312EE7628F}"/>
              </a:ext>
            </a:extLst>
          </p:cNvPr>
          <p:cNvPicPr>
            <a:picLocks noChangeAspect="1"/>
          </p:cNvPicPr>
          <p:nvPr userDrawn="1"/>
        </p:nvPicPr>
        <p:blipFill>
          <a:blip r:embed="rId7"/>
          <a:stretch>
            <a:fillRect/>
          </a:stretch>
        </p:blipFill>
        <p:spPr>
          <a:xfrm>
            <a:off x="7418629" y="4891539"/>
            <a:ext cx="337488" cy="321707"/>
          </a:xfrm>
          <a:prstGeom prst="rect">
            <a:avLst/>
          </a:prstGeom>
        </p:spPr>
      </p:pic>
      <p:pic>
        <p:nvPicPr>
          <p:cNvPr id="40" name="7 Skalér billede">
            <a:extLst>
              <a:ext uri="{FF2B5EF4-FFF2-40B4-BE49-F238E27FC236}">
                <a16:creationId xmlns:a16="http://schemas.microsoft.com/office/drawing/2014/main" id="{90E44E96-15EC-4173-BC67-080D7205EA5D}"/>
              </a:ext>
            </a:extLst>
          </p:cNvPr>
          <p:cNvPicPr>
            <a:picLocks noChangeAspect="1"/>
          </p:cNvPicPr>
          <p:nvPr userDrawn="1"/>
        </p:nvPicPr>
        <p:blipFill>
          <a:blip r:embed="rId8"/>
          <a:stretch>
            <a:fillRect/>
          </a:stretch>
        </p:blipFill>
        <p:spPr>
          <a:xfrm>
            <a:off x="7464216" y="5300090"/>
            <a:ext cx="359789" cy="335309"/>
          </a:xfrm>
          <a:prstGeom prst="rect">
            <a:avLst/>
          </a:prstGeom>
        </p:spPr>
      </p:pic>
      <p:pic>
        <p:nvPicPr>
          <p:cNvPr id="8" name="Billede 7">
            <a:extLst>
              <a:ext uri="{FF2B5EF4-FFF2-40B4-BE49-F238E27FC236}">
                <a16:creationId xmlns:a16="http://schemas.microsoft.com/office/drawing/2014/main" id="{0FAE27C5-4052-440E-8FA4-A98456A0F42B}"/>
              </a:ext>
            </a:extLst>
          </p:cNvPr>
          <p:cNvPicPr>
            <a:picLocks noChangeAspect="1"/>
          </p:cNvPicPr>
          <p:nvPr userDrawn="1"/>
        </p:nvPicPr>
        <p:blipFill>
          <a:blip r:embed="rId9"/>
          <a:stretch>
            <a:fillRect/>
          </a:stretch>
        </p:blipFill>
        <p:spPr>
          <a:xfrm>
            <a:off x="2902799" y="2867098"/>
            <a:ext cx="1188952" cy="496311"/>
          </a:xfrm>
          <a:prstGeom prst="rect">
            <a:avLst/>
          </a:prstGeom>
        </p:spPr>
      </p:pic>
      <p:pic>
        <p:nvPicPr>
          <p:cNvPr id="12" name="Billede 11">
            <a:extLst>
              <a:ext uri="{FF2B5EF4-FFF2-40B4-BE49-F238E27FC236}">
                <a16:creationId xmlns:a16="http://schemas.microsoft.com/office/drawing/2014/main" id="{7578D16D-11CB-45D8-BBA9-97BDA3E71BF2}"/>
              </a:ext>
            </a:extLst>
          </p:cNvPr>
          <p:cNvPicPr>
            <a:picLocks noChangeAspect="1"/>
          </p:cNvPicPr>
          <p:nvPr userDrawn="1"/>
        </p:nvPicPr>
        <p:blipFill rotWithShape="1">
          <a:blip r:embed="rId10"/>
          <a:srcRect b="46720"/>
          <a:stretch/>
        </p:blipFill>
        <p:spPr>
          <a:xfrm>
            <a:off x="3754195" y="3570200"/>
            <a:ext cx="893461" cy="627651"/>
          </a:xfrm>
          <a:prstGeom prst="rect">
            <a:avLst/>
          </a:prstGeom>
        </p:spPr>
      </p:pic>
      <p:sp>
        <p:nvSpPr>
          <p:cNvPr id="13" name="Rektangel 12">
            <a:extLst>
              <a:ext uri="{FF2B5EF4-FFF2-40B4-BE49-F238E27FC236}">
                <a16:creationId xmlns:a16="http://schemas.microsoft.com/office/drawing/2014/main" id="{82D1FADE-DAFE-478C-930A-6DBB9BAC37F0}"/>
              </a:ext>
            </a:extLst>
          </p:cNvPr>
          <p:cNvSpPr/>
          <p:nvPr userDrawn="1"/>
        </p:nvSpPr>
        <p:spPr>
          <a:xfrm>
            <a:off x="3711510" y="3551931"/>
            <a:ext cx="990263" cy="52794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14" name="Billede 13">
            <a:extLst>
              <a:ext uri="{FF2B5EF4-FFF2-40B4-BE49-F238E27FC236}">
                <a16:creationId xmlns:a16="http://schemas.microsoft.com/office/drawing/2014/main" id="{A0F8AFD2-A688-44B9-964A-D90D804E5692}"/>
              </a:ext>
            </a:extLst>
          </p:cNvPr>
          <p:cNvPicPr>
            <a:picLocks noChangeAspect="1"/>
          </p:cNvPicPr>
          <p:nvPr userDrawn="1"/>
        </p:nvPicPr>
        <p:blipFill rotWithShape="1">
          <a:blip r:embed="rId11"/>
          <a:srcRect l="14162" t="-10959" b="-1"/>
          <a:stretch/>
        </p:blipFill>
        <p:spPr>
          <a:xfrm>
            <a:off x="3608738" y="4263734"/>
            <a:ext cx="1134764" cy="494511"/>
          </a:xfrm>
          <a:prstGeom prst="rect">
            <a:avLst/>
          </a:prstGeom>
        </p:spPr>
      </p:pic>
      <p:sp>
        <p:nvSpPr>
          <p:cNvPr id="33" name="Rektangel 32">
            <a:extLst>
              <a:ext uri="{FF2B5EF4-FFF2-40B4-BE49-F238E27FC236}">
                <a16:creationId xmlns:a16="http://schemas.microsoft.com/office/drawing/2014/main" id="{32AE28FE-3DAC-4B7C-877A-CCF99AD7BB33}"/>
              </a:ext>
            </a:extLst>
          </p:cNvPr>
          <p:cNvSpPr/>
          <p:nvPr userDrawn="1"/>
        </p:nvSpPr>
        <p:spPr>
          <a:xfrm>
            <a:off x="4091751" y="4263734"/>
            <a:ext cx="472859" cy="4834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24" name="Logo">
            <a:extLst>
              <a:ext uri="{FF2B5EF4-FFF2-40B4-BE49-F238E27FC236}">
                <a16:creationId xmlns:a16="http://schemas.microsoft.com/office/drawing/2014/main" id="{F890F6C2-7553-4B53-9A72-EC01290DF87A}"/>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354095" y="180347"/>
            <a:ext cx="3396599" cy="536399"/>
          </a:xfrm>
          <a:prstGeom prst="rect">
            <a:avLst/>
          </a:prstGeom>
        </p:spPr>
      </p:pic>
      <p:pic>
        <p:nvPicPr>
          <p:cNvPr id="45" name="Billede 44">
            <a:extLst>
              <a:ext uri="{FF2B5EF4-FFF2-40B4-BE49-F238E27FC236}">
                <a16:creationId xmlns:a16="http://schemas.microsoft.com/office/drawing/2014/main" id="{2A639B25-3B69-4C9B-8AD3-D8FD1B4943CF}"/>
              </a:ext>
            </a:extLst>
          </p:cNvPr>
          <p:cNvPicPr>
            <a:picLocks noChangeAspect="1"/>
          </p:cNvPicPr>
          <p:nvPr userDrawn="1"/>
        </p:nvPicPr>
        <p:blipFill>
          <a:blip r:embed="rId13"/>
          <a:stretch>
            <a:fillRect/>
          </a:stretch>
        </p:blipFill>
        <p:spPr>
          <a:xfrm>
            <a:off x="801898" y="2378921"/>
            <a:ext cx="3453999" cy="231308"/>
          </a:xfrm>
          <a:prstGeom prst="rect">
            <a:avLst/>
          </a:prstGeom>
        </p:spPr>
      </p:pic>
      <p:pic>
        <p:nvPicPr>
          <p:cNvPr id="46" name="Billede 24">
            <a:extLst>
              <a:ext uri="{FF2B5EF4-FFF2-40B4-BE49-F238E27FC236}">
                <a16:creationId xmlns:a16="http://schemas.microsoft.com/office/drawing/2014/main" id="{BC7185AD-12A6-4D53-BFE6-D7774FD58B2D}"/>
              </a:ext>
            </a:extLst>
          </p:cNvPr>
          <p:cNvPicPr>
            <a:picLocks noChangeAspect="1"/>
          </p:cNvPicPr>
          <p:nvPr userDrawn="1"/>
        </p:nvPicPr>
        <p:blipFill>
          <a:blip r:embed="rId14"/>
          <a:stretch>
            <a:fillRect/>
          </a:stretch>
        </p:blipFill>
        <p:spPr>
          <a:xfrm>
            <a:off x="3646907" y="1969714"/>
            <a:ext cx="444844" cy="236711"/>
          </a:xfrm>
          <a:prstGeom prst="rect">
            <a:avLst/>
          </a:prstGeom>
        </p:spPr>
      </p:pic>
      <p:sp>
        <p:nvSpPr>
          <p:cNvPr id="47" name="Tekstfelt 46">
            <a:extLst>
              <a:ext uri="{FF2B5EF4-FFF2-40B4-BE49-F238E27FC236}">
                <a16:creationId xmlns:a16="http://schemas.microsoft.com/office/drawing/2014/main" id="{D861B624-E28B-4C93-83A6-123355D562BD}"/>
              </a:ext>
            </a:extLst>
          </p:cNvPr>
          <p:cNvSpPr txBox="1"/>
          <p:nvPr userDrawn="1"/>
        </p:nvSpPr>
        <p:spPr>
          <a:xfrm>
            <a:off x="828595" y="2594321"/>
            <a:ext cx="3446631" cy="115416"/>
          </a:xfrm>
          <a:prstGeom prst="rect">
            <a:avLst/>
          </a:prstGeom>
          <a:noFill/>
        </p:spPr>
        <p:txBody>
          <a:bodyPr wrap="square" lIns="0" tIns="0" rIns="0" bIns="0" rtlCol="0">
            <a:spAutoFit/>
          </a:bodyPr>
          <a:lstStyle/>
          <a:p>
            <a:pPr>
              <a:lnSpc>
                <a:spcPct val="125000"/>
              </a:lnSpc>
              <a:tabLst>
                <a:tab pos="374641" algn="l"/>
                <a:tab pos="761981" algn="l"/>
                <a:tab pos="1141385" algn="l"/>
                <a:tab pos="1523962" algn="l"/>
                <a:tab pos="1911303" algn="l"/>
                <a:tab pos="2293881" algn="l"/>
                <a:tab pos="2676458" algn="l"/>
                <a:tab pos="3059037" algn="l"/>
              </a:tabLst>
            </a:pPr>
            <a:r>
              <a:rPr lang="da-DK" sz="600" dirty="0"/>
              <a:t>FMN	FMI	FPS	FES	FRS	FSV	BRS	HJV	FAUK</a:t>
            </a:r>
          </a:p>
        </p:txBody>
      </p:sp>
    </p:spTree>
    <p:extLst>
      <p:ext uri="{BB962C8B-B14F-4D97-AF65-F5344CB8AC3E}">
        <p14:creationId xmlns:p14="http://schemas.microsoft.com/office/powerpoint/2010/main" val="2855380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1"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6" y="1871675"/>
            <a:ext cx="108451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3896296"/>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6" y="6450432"/>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5" y="660818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stretch>
            <a:fillRect/>
          </a:stretch>
        </p:blipFill>
        <p:spPr>
          <a:xfrm>
            <a:off x="1"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4"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2333907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1"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6" y="1871675"/>
            <a:ext cx="108451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3896296"/>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6" y="6450432"/>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5" y="660818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1"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20549549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1"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6" y="1871675"/>
            <a:ext cx="108451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3896296"/>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6" y="6450432"/>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5" y="660818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1279474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1"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6" y="1871675"/>
            <a:ext cx="108451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3896296"/>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6" y="6450432"/>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5" y="660818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duotone>
              <a:prstClr val="black"/>
              <a:schemeClr val="accent1">
                <a:tint val="45000"/>
                <a:satMod val="400000"/>
              </a:schemeClr>
            </a:duotone>
          </a:blip>
          <a:stretch>
            <a:fillRect/>
          </a:stretch>
        </p:blipFill>
        <p:spPr>
          <a:xfrm>
            <a:off x="1"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4"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15734938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1" y="0"/>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868516" y="1871675"/>
            <a:ext cx="10845135" cy="1933617"/>
          </a:xfrm>
        </p:spPr>
        <p:txBody>
          <a:bodyPr wrap="square" anchor="b">
            <a:no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3896296"/>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4" name="Tjenestebrug">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7"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173066" y="6450432"/>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8"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173085" y="660818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4FC551B9-65B1-44F2-B442-58BCE03AFB5E}"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6" name="Picture 2" descr="http://team.msp.forsvaret.fiin.dk/sites/Haerkommandoen/SiteAssets/SitePages/Startside/haermaerke.gif"/>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22" name="Tekstboks 21"/>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pic>
        <p:nvPicPr>
          <p:cNvPr id="5" name="Billede 4"/>
          <p:cNvPicPr>
            <a:picLocks noChangeAspect="1"/>
          </p:cNvPicPr>
          <p:nvPr userDrawn="1"/>
        </p:nvPicPr>
        <p:blipFill>
          <a:blip r:embed="rId3">
            <a:extLst>
              <a:ext uri="{BEBA8EAE-BF5A-486C-A8C5-ECC9F3942E4B}">
                <a14:imgProps xmlns:a14="http://schemas.microsoft.com/office/drawing/2010/main">
                  <a14:imgLayer r:embed="rId4">
                    <a14:imgEffect>
                      <a14:artisticTexturizer/>
                    </a14:imgEffect>
                  </a14:imgLayer>
                </a14:imgProps>
              </a:ext>
            </a:extLst>
          </a:blip>
          <a:stretch>
            <a:fillRect/>
          </a:stretch>
        </p:blipFill>
        <p:spPr>
          <a:xfrm>
            <a:off x="1" y="5103"/>
            <a:ext cx="12193200" cy="6858000"/>
          </a:xfrm>
          <a:prstGeom prst="rect">
            <a:avLst/>
          </a:prstGeom>
        </p:spPr>
      </p:pic>
      <p:sp>
        <p:nvSpPr>
          <p:cNvPr id="23" name="Bottom box">
            <a:extLst>
              <a:ext uri="{FF2B5EF4-FFF2-40B4-BE49-F238E27FC236}">
                <a16:creationId xmlns:a16="http://schemas.microsoft.com/office/drawing/2014/main" id="{89821071-2E34-4B87-885E-590BD2636BCD}"/>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pic>
        <p:nvPicPr>
          <p:cNvPr id="30" name="Billede 29"/>
          <p:cNvPicPr>
            <a:picLocks noChangeAspect="1"/>
          </p:cNvPicPr>
          <p:nvPr userDrawn="1"/>
        </p:nvPicPr>
        <p:blipFill>
          <a:blip r:embed="rId5" cstate="screen">
            <a:clrChange>
              <a:clrFrom>
                <a:srgbClr val="FFFFFE"/>
              </a:clrFrom>
              <a:clrTo>
                <a:srgbClr val="FFFFFE">
                  <a:alpha val="0"/>
                </a:srgbClr>
              </a:clrTo>
            </a:clrChange>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Tree>
    <p:extLst>
      <p:ext uri="{BB962C8B-B14F-4D97-AF65-F5344CB8AC3E}">
        <p14:creationId xmlns:p14="http://schemas.microsoft.com/office/powerpoint/2010/main" val="41547496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9A3F990-A1E2-45D7-BB03-B5F658ACB1D2}"/>
              </a:ext>
            </a:extLst>
          </p:cNvPr>
          <p:cNvSpPr>
            <a:spLocks noGrp="1"/>
          </p:cNvSpPr>
          <p:nvPr>
            <p:ph type="pic" sz="quarter" idx="13" hasCustomPrompt="1"/>
          </p:nvPr>
        </p:nvSpPr>
        <p:spPr>
          <a:xfrm>
            <a:off x="1" y="0"/>
            <a:ext cx="12192000" cy="6858000"/>
          </a:xfrm>
        </p:spPr>
        <p:txBody>
          <a:bodyPr tIns="720000" anchor="ctr" anchorCtr="0"/>
          <a:lstStyle>
            <a:lvl1pPr marL="0" indent="0" algn="ctr">
              <a:buNone/>
              <a:defRPr/>
            </a:lvl1pPr>
          </a:lstStyle>
          <a:p>
            <a:r>
              <a:rPr lang="da-DK" dirty="0"/>
              <a:t>Klik på ikonet for at tilføje et billede</a:t>
            </a:r>
          </a:p>
        </p:txBody>
      </p:sp>
      <p:pic>
        <p:nvPicPr>
          <p:cNvPr id="4" name="Billed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9199" y="514159"/>
            <a:ext cx="1906016" cy="563880"/>
          </a:xfrm>
          <a:prstGeom prst="rect">
            <a:avLst/>
          </a:prstGeom>
        </p:spPr>
      </p:pic>
      <p:sp>
        <p:nvSpPr>
          <p:cNvPr id="2" name="Title 1"/>
          <p:cNvSpPr>
            <a:spLocks noGrp="1"/>
          </p:cNvSpPr>
          <p:nvPr>
            <p:ph type="ctrTitle" hasCustomPrompt="1"/>
          </p:nvPr>
        </p:nvSpPr>
        <p:spPr>
          <a:xfrm>
            <a:off x="868516" y="4233735"/>
            <a:ext cx="10845135" cy="580800"/>
          </a:xfrm>
        </p:spPr>
        <p:txBody>
          <a:bodyPr wrap="square" anchor="b">
            <a:spAutoFit/>
          </a:bodyPr>
          <a:lstStyle>
            <a:lvl1pPr algn="l">
              <a:defRPr sz="3699">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922114" y="4905549"/>
            <a:ext cx="43200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20" name="Bottom box">
            <a:extLst>
              <a:ext uri="{FF2B5EF4-FFF2-40B4-BE49-F238E27FC236}">
                <a16:creationId xmlns:a16="http://schemas.microsoft.com/office/drawing/2014/main" id="{CF54AAEE-85E1-4F0A-A35B-41D12ECDD6E6}"/>
              </a:ext>
            </a:extLst>
          </p:cNvPr>
          <p:cNvSpPr>
            <a:spLocks noGrp="1"/>
          </p:cNvSpPr>
          <p:nvPr>
            <p:ph type="body" sz="quarter" idx="15" hasCustomPrompt="1"/>
          </p:nvPr>
        </p:nvSpPr>
        <p:spPr>
          <a:xfrm>
            <a:off x="921600" y="5922000"/>
            <a:ext cx="10368000" cy="75600"/>
          </a:xfrm>
          <a:solidFill>
            <a:schemeClr val="accent1"/>
          </a:solidFill>
        </p:spPr>
        <p:txBody>
          <a:bodyPr/>
          <a:lstStyle>
            <a:lvl1pPr marL="0" indent="0">
              <a:buFont typeface="Arial" panose="020B0604020202020204" pitchFamily="34" charset="0"/>
              <a:buNone/>
              <a:defRPr sz="100">
                <a:noFill/>
              </a:defRPr>
            </a:lvl1pPr>
            <a:lvl2pPr marL="459312" indent="-171399">
              <a:buFont typeface="Arial" panose="020B0604020202020204" pitchFamily="34" charset="0"/>
              <a:buChar char="•"/>
              <a:defRPr sz="100"/>
            </a:lvl2pPr>
            <a:lvl3pPr marL="747226" indent="-171399">
              <a:buFont typeface="Arial" panose="020B0604020202020204" pitchFamily="34" charset="0"/>
              <a:buChar char="•"/>
              <a:defRPr sz="100"/>
            </a:lvl3pPr>
            <a:lvl4pPr marL="747226" indent="-171399">
              <a:buFont typeface="Arial" panose="020B0604020202020204" pitchFamily="34" charset="0"/>
              <a:buChar char="•"/>
              <a:defRPr sz="100"/>
            </a:lvl4pPr>
            <a:lvl5pPr marL="747226" indent="-171399">
              <a:buFont typeface="Arial" panose="020B0604020202020204" pitchFamily="34" charset="0"/>
              <a:buChar char="•"/>
              <a:defRPr sz="100"/>
            </a:lvl5pPr>
          </a:lstStyle>
          <a:p>
            <a:pPr lvl="0"/>
            <a:r>
              <a:rPr lang="da-DK" dirty="0"/>
              <a:t>.</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7029447"/>
            <a:ext cx="0" cy="0"/>
          </a:xfrm>
        </p:spPr>
        <p:txBody>
          <a:bodyPr/>
          <a:lstStyle>
            <a:lvl1pPr>
              <a:defRPr sz="100">
                <a:noFill/>
              </a:defRPr>
            </a:lvl1pPr>
          </a:lstStyle>
          <a:p>
            <a:fld id="{9EACCC4A-893E-4B6A-A217-166559D2F8BC}" type="datetime2">
              <a:rPr lang="da-DK" smtClean="0"/>
              <a:pPr/>
              <a:t>4. februar 2025</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7029447"/>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7029447"/>
            <a:ext cx="0" cy="0"/>
          </a:xfrm>
        </p:spPr>
        <p:txBody>
          <a:bodyPr/>
          <a:lstStyle>
            <a:lvl1pPr>
              <a:defRPr sz="100">
                <a:noFill/>
              </a:defRPr>
            </a:lvl1pPr>
          </a:lstStyle>
          <a:p>
            <a:fld id="{24C8C45C-947F-4981-8B3F-4F32E973C901}" type="slidenum">
              <a:rPr lang="da-DK" smtClean="0"/>
              <a:pPr/>
              <a:t>‹nr.›</a:t>
            </a:fld>
            <a:endParaRPr lang="da-DK" dirty="0"/>
          </a:p>
        </p:txBody>
      </p:sp>
      <p:sp>
        <p:nvSpPr>
          <p:cNvPr id="26" name="Tjenestebrug" descr="Tilføj klassifikation" title="Klassifikation">
            <a:extLst>
              <a:ext uri="{FF2B5EF4-FFF2-40B4-BE49-F238E27FC236}">
                <a16:creationId xmlns:a16="http://schemas.microsoft.com/office/drawing/2014/main" id="{C0C82AC3-0336-4737-8280-A45BAE1DA373}"/>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7" name="Afklassificeret">
            <a:extLst>
              <a:ext uri="{FF2B5EF4-FFF2-40B4-BE49-F238E27FC236}">
                <a16:creationId xmlns:a16="http://schemas.microsoft.com/office/drawing/2014/main" id="{43F8254F-D5FE-443B-9376-05A5AAD2DF7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9" name="Tjenestebrug">
            <a:extLst>
              <a:ext uri="{FF2B5EF4-FFF2-40B4-BE49-F238E27FC236}">
                <a16:creationId xmlns:a16="http://schemas.microsoft.com/office/drawing/2014/main" id="{88CCF056-6E37-4E9C-AFF1-C5488E3A6A60}"/>
              </a:ext>
            </a:extLst>
          </p:cNvPr>
          <p:cNvSpPr>
            <a:spLocks noGrp="1"/>
          </p:cNvSpPr>
          <p:nvPr>
            <p:ph type="body" sz="quarter" idx="19" hasCustomPrompt="1"/>
          </p:nvPr>
        </p:nvSpPr>
        <p:spPr>
          <a:xfrm>
            <a:off x="4376266" y="6460218"/>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30" name="Afklassificeret">
            <a:extLst>
              <a:ext uri="{FF2B5EF4-FFF2-40B4-BE49-F238E27FC236}">
                <a16:creationId xmlns:a16="http://schemas.microsoft.com/office/drawing/2014/main" id="{307FC0C7-1D70-48F4-BA01-75A3C8F62F80}"/>
              </a:ext>
            </a:extLst>
          </p:cNvPr>
          <p:cNvSpPr>
            <a:spLocks noGrp="1"/>
          </p:cNvSpPr>
          <p:nvPr>
            <p:ph type="body" sz="quarter" idx="20" hasCustomPrompt="1"/>
          </p:nvPr>
        </p:nvSpPr>
        <p:spPr>
          <a:xfrm>
            <a:off x="4376284" y="661796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32" name="Date Placeholder 2">
            <a:extLst>
              <a:ext uri="{FF2B5EF4-FFF2-40B4-BE49-F238E27FC236}">
                <a16:creationId xmlns:a16="http://schemas.microsoft.com/office/drawing/2014/main" id="{7A1007AC-71D9-4C3B-BE94-4486EE7499EB}"/>
              </a:ext>
            </a:extLst>
          </p:cNvPr>
          <p:cNvSpPr txBox="1">
            <a:spLocks/>
          </p:cNvSpPr>
          <p:nvPr userDrawn="1"/>
        </p:nvSpPr>
        <p:spPr>
          <a:xfrm>
            <a:off x="203200" y="7114735"/>
            <a:ext cx="0" cy="0"/>
          </a:xfrm>
          <a:prstGeom prst="rect">
            <a:avLst/>
          </a:prstGeom>
        </p:spPr>
        <p:txBody>
          <a:bodyPr vert="horz" wrap="square" lIns="0" tIns="0" rIns="0" bIns="0" rtlCol="0" anchor="ctr"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0C60E8-3CEA-426D-9F52-92B3EDD7F172}" type="datetime2">
              <a:rPr lang="da-DK" sz="100" smtClean="0"/>
              <a:pPr/>
              <a:t>4. februar 2025</a:t>
            </a:fld>
            <a:endParaRPr lang="da-DK" sz="100" dirty="0"/>
          </a:p>
        </p:txBody>
      </p:sp>
      <p:sp>
        <p:nvSpPr>
          <p:cNvPr id="33" name="Slide Number Placeholder 4">
            <a:extLst>
              <a:ext uri="{FF2B5EF4-FFF2-40B4-BE49-F238E27FC236}">
                <a16:creationId xmlns:a16="http://schemas.microsoft.com/office/drawing/2014/main" id="{73D9D80D-E108-4E26-A9C4-A691F717C41D}"/>
              </a:ext>
            </a:extLst>
          </p:cNvPr>
          <p:cNvSpPr txBox="1">
            <a:spLocks/>
          </p:cNvSpPr>
          <p:nvPr userDrawn="1"/>
        </p:nvSpPr>
        <p:spPr>
          <a:xfrm flipV="1">
            <a:off x="203200" y="7114735"/>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543" tIns="118769" rIns="0" bIns="0" rtlCol="0" anchor="b"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100" smtClean="0"/>
              <a:pPr/>
              <a:t>‹nr.›</a:t>
            </a:fld>
            <a:endParaRPr lang="da-DK" sz="100" dirty="0"/>
          </a:p>
        </p:txBody>
      </p:sp>
      <p:pic>
        <p:nvPicPr>
          <p:cNvPr id="18" name="Picture 2" descr="http://team.msp.forsvaret.fiin.dk/sites/Haerkommandoen/SiteAssets/SitePages/Startside/haermaerke.gif"/>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524027" y="5151931"/>
            <a:ext cx="735823" cy="618760"/>
          </a:xfrm>
          <a:prstGeom prst="rect">
            <a:avLst/>
          </a:prstGeom>
          <a:noFill/>
          <a:extLst>
            <a:ext uri="{909E8E84-426E-40DD-AFC4-6F175D3DCCD1}">
              <a14:hiddenFill xmlns:a14="http://schemas.microsoft.com/office/drawing/2010/main">
                <a:solidFill>
                  <a:srgbClr val="FFFFFF"/>
                </a:solidFill>
              </a14:hiddenFill>
            </a:ext>
          </a:extLst>
        </p:spPr>
      </p:pic>
      <p:sp>
        <p:nvSpPr>
          <p:cNvPr id="19" name="Tekstboks 18"/>
          <p:cNvSpPr txBox="1"/>
          <p:nvPr userDrawn="1"/>
        </p:nvSpPr>
        <p:spPr>
          <a:xfrm>
            <a:off x="10524011" y="5770691"/>
            <a:ext cx="735821" cy="153888"/>
          </a:xfrm>
          <a:prstGeom prst="rect">
            <a:avLst/>
          </a:prstGeom>
          <a:noFill/>
        </p:spPr>
        <p:txBody>
          <a:bodyPr wrap="square" lIns="0" tIns="0" rIns="0" bIns="0" rtlCol="0">
            <a:spAutoFit/>
          </a:bodyPr>
          <a:lstStyle/>
          <a:p>
            <a:pPr algn="ctr">
              <a:lnSpc>
                <a:spcPct val="125000"/>
              </a:lnSpc>
            </a:pPr>
            <a:r>
              <a:rPr lang="da-DK" sz="800" dirty="0">
                <a:solidFill>
                  <a:prstClr val="black"/>
                </a:solidFill>
              </a:rPr>
              <a:t>Hæren</a:t>
            </a:r>
          </a:p>
        </p:txBody>
      </p:sp>
    </p:spTree>
    <p:extLst>
      <p:ext uri="{BB962C8B-B14F-4D97-AF65-F5344CB8AC3E}">
        <p14:creationId xmlns:p14="http://schemas.microsoft.com/office/powerpoint/2010/main" val="39467105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1007536" y="2330450"/>
            <a:ext cx="10706099" cy="367347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4173086" y="275691"/>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1" name="Tjenestebrug">
            <a:extLst>
              <a:ext uri="{FF2B5EF4-FFF2-40B4-BE49-F238E27FC236}">
                <a16:creationId xmlns:a16="http://schemas.microsoft.com/office/drawing/2014/main" id="{B7991B50-C9A5-412D-AD92-FBB26509DE4A}"/>
              </a:ext>
            </a:extLst>
          </p:cNvPr>
          <p:cNvSpPr>
            <a:spLocks noGrp="1"/>
          </p:cNvSpPr>
          <p:nvPr>
            <p:ph type="body" sz="quarter" idx="19" hasCustomPrompt="1"/>
          </p:nvPr>
        </p:nvSpPr>
        <p:spPr>
          <a:xfrm>
            <a:off x="4173066" y="6467209"/>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2" name="Afklassificeret">
            <a:extLst>
              <a:ext uri="{FF2B5EF4-FFF2-40B4-BE49-F238E27FC236}">
                <a16:creationId xmlns:a16="http://schemas.microsoft.com/office/drawing/2014/main" id="{0B3ED1EF-436E-41C8-8BB9-3E9E4E0821D2}"/>
              </a:ext>
            </a:extLst>
          </p:cNvPr>
          <p:cNvSpPr>
            <a:spLocks noGrp="1"/>
          </p:cNvSpPr>
          <p:nvPr>
            <p:ph type="body" sz="quarter" idx="20" hasCustomPrompt="1"/>
          </p:nvPr>
        </p:nvSpPr>
        <p:spPr>
          <a:xfrm>
            <a:off x="4173085" y="6626479"/>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4" name="Titel 13"/>
          <p:cNvSpPr>
            <a:spLocks noGrp="1"/>
          </p:cNvSpPr>
          <p:nvPr>
            <p:ph type="title"/>
          </p:nvPr>
        </p:nvSpPr>
        <p:spPr/>
        <p:txBody>
          <a:bodyPr/>
          <a:lstStyle/>
          <a:p>
            <a:r>
              <a:rPr lang="da-DK"/>
              <a:t>Klik for at redigere i master</a:t>
            </a:r>
          </a:p>
        </p:txBody>
      </p:sp>
      <p:sp>
        <p:nvSpPr>
          <p:cNvPr id="1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16"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3"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0"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8"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543998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1007535" y="2330450"/>
            <a:ext cx="10706099" cy="367347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4173085" y="275691"/>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1" name="Tjenestebrug">
            <a:extLst>
              <a:ext uri="{FF2B5EF4-FFF2-40B4-BE49-F238E27FC236}">
                <a16:creationId xmlns:a16="http://schemas.microsoft.com/office/drawing/2014/main" id="{B7991B50-C9A5-412D-AD92-FBB26509DE4A}"/>
              </a:ext>
            </a:extLst>
          </p:cNvPr>
          <p:cNvSpPr>
            <a:spLocks noGrp="1"/>
          </p:cNvSpPr>
          <p:nvPr>
            <p:ph type="body" sz="quarter" idx="19" hasCustomPrompt="1"/>
          </p:nvPr>
        </p:nvSpPr>
        <p:spPr>
          <a:xfrm>
            <a:off x="4173065" y="6467207"/>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2" name="Afklassificeret">
            <a:extLst>
              <a:ext uri="{FF2B5EF4-FFF2-40B4-BE49-F238E27FC236}">
                <a16:creationId xmlns:a16="http://schemas.microsoft.com/office/drawing/2014/main" id="{0B3ED1EF-436E-41C8-8BB9-3E9E4E0821D2}"/>
              </a:ext>
            </a:extLst>
          </p:cNvPr>
          <p:cNvSpPr>
            <a:spLocks noGrp="1"/>
          </p:cNvSpPr>
          <p:nvPr>
            <p:ph type="body" sz="quarter" idx="20" hasCustomPrompt="1"/>
          </p:nvPr>
        </p:nvSpPr>
        <p:spPr>
          <a:xfrm>
            <a:off x="4173084" y="6626479"/>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4" name="Titel 13"/>
          <p:cNvSpPr>
            <a:spLocks noGrp="1"/>
          </p:cNvSpPr>
          <p:nvPr>
            <p:ph type="title"/>
          </p:nvPr>
        </p:nvSpPr>
        <p:spPr/>
        <p:txBody>
          <a:bodyPr/>
          <a:lstStyle/>
          <a:p>
            <a:r>
              <a:rPr lang="da-DK"/>
              <a:t>Klik for at redigere i master</a:t>
            </a:r>
          </a:p>
        </p:txBody>
      </p:sp>
      <p:sp>
        <p:nvSpPr>
          <p:cNvPr id="1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16"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3"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0"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8"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40190572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9"/>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1007540" y="1150635"/>
            <a:ext cx="10706097" cy="528045"/>
          </a:xfrm>
        </p:spPr>
        <p:txBody>
          <a:bodyPr/>
          <a:lstStyle>
            <a:lvl1pPr>
              <a:defRPr sz="1999"/>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1007535" y="1871663"/>
            <a:ext cx="758512" cy="218236"/>
          </a:xfrm>
        </p:spPr>
        <p:txBody>
          <a:bodyPr/>
          <a:lstStyle>
            <a:lvl1pPr marL="0" indent="0">
              <a:lnSpc>
                <a:spcPct val="100000"/>
              </a:lnSpc>
              <a:spcBef>
                <a:spcPts val="0"/>
              </a:spcBef>
              <a:buNone/>
              <a:defRPr sz="900" b="1" cap="all" baseline="0"/>
            </a:lvl1pPr>
            <a:lvl2pPr marL="287914" indent="0">
              <a:buNone/>
              <a:defRPr sz="900" b="1" cap="all" baseline="0"/>
            </a:lvl2pPr>
            <a:lvl3pPr marL="575827" indent="0">
              <a:buNone/>
              <a:defRPr sz="900" b="1" cap="all" baseline="0"/>
            </a:lvl3pPr>
            <a:lvl4pPr marL="575827" indent="0">
              <a:buNone/>
              <a:defRPr sz="900" b="1" cap="all" baseline="0"/>
            </a:lvl4pPr>
            <a:lvl5pPr marL="575827"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814684" y="1871667"/>
            <a:ext cx="6119792" cy="218236"/>
          </a:xfrm>
        </p:spPr>
        <p:txBody>
          <a:bodyPr/>
          <a:lstStyle>
            <a:lvl1pPr marL="89973" indent="-89973">
              <a:lnSpc>
                <a:spcPct val="100000"/>
              </a:lnSpc>
              <a:spcBef>
                <a:spcPts val="0"/>
              </a:spcBef>
              <a:buClr>
                <a:schemeClr val="accent2"/>
              </a:buClr>
              <a:buSzPct val="105000"/>
              <a:buFont typeface="Verdana" panose="020B0604030504040204" pitchFamily="34" charset="0"/>
              <a:buChar char="/"/>
              <a:defRPr sz="900"/>
            </a:lvl1pPr>
            <a:lvl2pPr marL="161951" indent="-89973">
              <a:lnSpc>
                <a:spcPct val="100000"/>
              </a:lnSpc>
              <a:spcBef>
                <a:spcPts val="0"/>
              </a:spcBef>
              <a:buClr>
                <a:schemeClr val="accent2"/>
              </a:buClr>
              <a:buSzPct val="105000"/>
              <a:buFont typeface="Verdana" panose="020B0604030504040204" pitchFamily="34" charset="0"/>
              <a:buChar char="/"/>
              <a:defRPr sz="900"/>
            </a:lvl2pPr>
            <a:lvl3pPr marL="161951" indent="-89973">
              <a:lnSpc>
                <a:spcPct val="100000"/>
              </a:lnSpc>
              <a:spcBef>
                <a:spcPts val="0"/>
              </a:spcBef>
              <a:buClr>
                <a:schemeClr val="accent2"/>
              </a:buClr>
              <a:buSzPct val="105000"/>
              <a:buFont typeface="Verdana" panose="020B0604030504040204" pitchFamily="34" charset="0"/>
              <a:buChar char="/"/>
              <a:defRPr sz="900"/>
            </a:lvl3pPr>
            <a:lvl4pPr marL="161951" indent="-89973">
              <a:lnSpc>
                <a:spcPct val="100000"/>
              </a:lnSpc>
              <a:spcBef>
                <a:spcPts val="0"/>
              </a:spcBef>
              <a:buClr>
                <a:schemeClr val="accent2"/>
              </a:buClr>
              <a:buSzPct val="105000"/>
              <a:buFont typeface="Verdana" panose="020B0604030504040204" pitchFamily="34" charset="0"/>
              <a:buChar char="/"/>
              <a:defRPr sz="900"/>
            </a:lvl4pPr>
            <a:lvl5pPr marL="161951" indent="-89973">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1007536" y="2330451"/>
            <a:ext cx="6926941"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8" name="Tjenestebrug">
            <a:extLst>
              <a:ext uri="{FF2B5EF4-FFF2-40B4-BE49-F238E27FC236}">
                <a16:creationId xmlns:a16="http://schemas.microsoft.com/office/drawing/2014/main" id="{4BC199A5-FE27-4EDC-820E-D6B1829FD7AB}"/>
              </a:ext>
            </a:extLst>
          </p:cNvPr>
          <p:cNvSpPr>
            <a:spLocks noGrp="1"/>
          </p:cNvSpPr>
          <p:nvPr>
            <p:ph type="body" sz="quarter" idx="19" hasCustomPrompt="1"/>
          </p:nvPr>
        </p:nvSpPr>
        <p:spPr>
          <a:xfrm>
            <a:off x="4173066" y="6475598"/>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29A7BC64-533D-4AA5-8E75-B3674960D315}"/>
              </a:ext>
            </a:extLst>
          </p:cNvPr>
          <p:cNvSpPr>
            <a:spLocks noGrp="1"/>
          </p:cNvSpPr>
          <p:nvPr>
            <p:ph type="body" sz="quarter" idx="20" hasCustomPrompt="1"/>
          </p:nvPr>
        </p:nvSpPr>
        <p:spPr>
          <a:xfrm>
            <a:off x="4173085" y="663334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pic>
        <p:nvPicPr>
          <p:cNvPr id="22" name="Billed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6"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27"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8"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7"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4920181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pic>
        <p:nvPicPr>
          <p:cNvPr id="18" name="Billed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8" name="Background">
            <a:extLst>
              <a:ext uri="{FF2B5EF4-FFF2-40B4-BE49-F238E27FC236}">
                <a16:creationId xmlns:a16="http://schemas.microsoft.com/office/drawing/2014/main" id="{DFD13AEA-AC92-460F-AA1C-72BBDE0C595F}"/>
              </a:ext>
            </a:extLst>
          </p:cNvPr>
          <p:cNvSpPr/>
          <p:nvPr userDrawn="1"/>
        </p:nvSpPr>
        <p:spPr>
          <a:xfrm>
            <a:off x="1" y="1678679"/>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1007540" y="1150635"/>
            <a:ext cx="10706097" cy="528045"/>
          </a:xfrm>
        </p:spPr>
        <p:txBody>
          <a:bodyPr/>
          <a:lstStyle>
            <a:lvl1pPr>
              <a:defRPr sz="1999"/>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1007540" y="1873771"/>
            <a:ext cx="10706097" cy="3960972"/>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1007540" y="5459507"/>
            <a:ext cx="10706097" cy="375236"/>
          </a:xfrm>
        </p:spPr>
        <p:txBody>
          <a:bodyPr anchor="b" anchorCtr="0"/>
          <a:lstStyle>
            <a:lvl1pPr marL="107968" indent="-107968">
              <a:lnSpc>
                <a:spcPct val="114000"/>
              </a:lnSpc>
              <a:spcBef>
                <a:spcPts val="0"/>
              </a:spcBef>
              <a:buFont typeface="Verdana" panose="020B0604030504040204" pitchFamily="34" charset="0"/>
              <a:buChar char="*"/>
              <a:defRPr sz="900"/>
            </a:lvl1pPr>
            <a:lvl2pPr marL="107968" indent="-107968">
              <a:lnSpc>
                <a:spcPct val="114000"/>
              </a:lnSpc>
              <a:spcBef>
                <a:spcPts val="0"/>
              </a:spcBef>
              <a:buFont typeface="Verdana" panose="020B0604030504040204" pitchFamily="34" charset="0"/>
              <a:buChar char="*"/>
              <a:defRPr sz="900"/>
            </a:lvl2pPr>
            <a:lvl3pPr marL="107968" indent="-107968">
              <a:lnSpc>
                <a:spcPct val="114000"/>
              </a:lnSpc>
              <a:spcBef>
                <a:spcPts val="0"/>
              </a:spcBef>
              <a:buFont typeface="Verdana" panose="020B0604030504040204" pitchFamily="34" charset="0"/>
              <a:buChar char="*"/>
              <a:defRPr sz="900"/>
            </a:lvl3pPr>
            <a:lvl4pPr marL="107968" indent="-107968">
              <a:lnSpc>
                <a:spcPct val="114000"/>
              </a:lnSpc>
              <a:spcBef>
                <a:spcPts val="0"/>
              </a:spcBef>
              <a:buFont typeface="Verdana" panose="020B0604030504040204" pitchFamily="34" charset="0"/>
              <a:buChar char="*"/>
              <a:defRPr sz="900"/>
            </a:lvl4pPr>
            <a:lvl5pPr marL="107968" indent="-107968">
              <a:lnSpc>
                <a:spcPct val="114000"/>
              </a:lnSpc>
              <a:spcBef>
                <a:spcPts val="0"/>
              </a:spcBef>
              <a:buFont typeface="Verdana" panose="020B0604030504040204" pitchFamily="34" charset="0"/>
              <a:buChar char="*"/>
              <a:defRPr sz="900"/>
            </a:lvl5pPr>
          </a:lstStyle>
          <a:p>
            <a:pPr lvl="0"/>
            <a:r>
              <a:rPr lang="da-DK"/>
              <a:t>Klik for at tilføje notes tekst</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1" name="Tjenestebrug">
            <a:extLst>
              <a:ext uri="{FF2B5EF4-FFF2-40B4-BE49-F238E27FC236}">
                <a16:creationId xmlns:a16="http://schemas.microsoft.com/office/drawing/2014/main" id="{ACDFB918-ACD5-48C8-BAAB-73699F994EC6}"/>
              </a:ext>
            </a:extLst>
          </p:cNvPr>
          <p:cNvSpPr>
            <a:spLocks noGrp="1"/>
          </p:cNvSpPr>
          <p:nvPr>
            <p:ph type="body" sz="quarter" idx="17"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2" name="Afklassificeret">
            <a:extLst>
              <a:ext uri="{FF2B5EF4-FFF2-40B4-BE49-F238E27FC236}">
                <a16:creationId xmlns:a16="http://schemas.microsoft.com/office/drawing/2014/main" id="{82546EAD-BB49-4BE4-8333-7E33370C9CC1}"/>
              </a:ext>
            </a:extLst>
          </p:cNvPr>
          <p:cNvSpPr>
            <a:spLocks noGrp="1"/>
          </p:cNvSpPr>
          <p:nvPr>
            <p:ph type="body" sz="quarter" idx="18"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4" name="Tjenestebrug">
            <a:extLst>
              <a:ext uri="{FF2B5EF4-FFF2-40B4-BE49-F238E27FC236}">
                <a16:creationId xmlns:a16="http://schemas.microsoft.com/office/drawing/2014/main" id="{7F5EC99F-D4DF-44AC-858F-308A012640E7}"/>
              </a:ext>
            </a:extLst>
          </p:cNvPr>
          <p:cNvSpPr>
            <a:spLocks noGrp="1"/>
          </p:cNvSpPr>
          <p:nvPr>
            <p:ph type="body" sz="quarter" idx="20" hasCustomPrompt="1"/>
          </p:nvPr>
        </p:nvSpPr>
        <p:spPr>
          <a:xfrm>
            <a:off x="4173066" y="6475598"/>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29F203-7290-4A7B-8633-B8BD9F52936E}"/>
              </a:ext>
            </a:extLst>
          </p:cNvPr>
          <p:cNvSpPr>
            <a:spLocks noGrp="1"/>
          </p:cNvSpPr>
          <p:nvPr>
            <p:ph type="body" sz="quarter" idx="21" hasCustomPrompt="1"/>
          </p:nvPr>
        </p:nvSpPr>
        <p:spPr>
          <a:xfrm>
            <a:off x="4173085" y="663334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6"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7"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28"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9"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23367325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pic>
        <p:nvPicPr>
          <p:cNvPr id="23" name="Billed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40" y="1150631"/>
            <a:ext cx="4800599" cy="720000"/>
          </a:xfrm>
        </p:spPr>
        <p:txBody>
          <a:bodyPr>
            <a:normAutofit/>
          </a:bodyPr>
          <a:lstStyle>
            <a:lvl1pPr>
              <a:lnSpc>
                <a:spcPct val="108000"/>
              </a:lnSpc>
              <a:defRPr sz="1999"/>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40" y="2075391"/>
            <a:ext cx="4800599"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41"/>
            <a:ext cx="5617633" cy="4853295"/>
          </a:xfrm>
        </p:spPr>
        <p:txBody>
          <a:bodyPr tIns="720000" anchor="ctr" anchorCtr="0"/>
          <a:lstStyle>
            <a:lvl1pPr marL="0" indent="0" algn="ctr">
              <a:buNone/>
              <a:defRPr/>
            </a:lvl1pPr>
          </a:lstStyle>
          <a:p>
            <a:r>
              <a:rPr lang="da-DK" dirty="0"/>
              <a:t>Klik på ikonet for at tilføje et billede</a:t>
            </a:r>
          </a:p>
        </p:txBody>
      </p:sp>
      <p:sp>
        <p:nvSpPr>
          <p:cNvPr id="16" name="Tjenestebrug">
            <a:extLst>
              <a:ext uri="{FF2B5EF4-FFF2-40B4-BE49-F238E27FC236}">
                <a16:creationId xmlns:a16="http://schemas.microsoft.com/office/drawing/2014/main" id="{87545A53-235D-45E4-A38E-B37C80AD2CE8}"/>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7" name="Afklassificeret">
            <a:extLst>
              <a:ext uri="{FF2B5EF4-FFF2-40B4-BE49-F238E27FC236}">
                <a16:creationId xmlns:a16="http://schemas.microsoft.com/office/drawing/2014/main" id="{0CF71E1F-29C5-4F41-B05F-62C49644D2F5}"/>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9" name="Tjenestebrug">
            <a:extLst>
              <a:ext uri="{FF2B5EF4-FFF2-40B4-BE49-F238E27FC236}">
                <a16:creationId xmlns:a16="http://schemas.microsoft.com/office/drawing/2014/main" id="{BADCC9D5-A7F8-41D0-B642-3BD0CA97D726}"/>
              </a:ext>
            </a:extLst>
          </p:cNvPr>
          <p:cNvSpPr>
            <a:spLocks noGrp="1"/>
          </p:cNvSpPr>
          <p:nvPr>
            <p:ph type="body" sz="quarter" idx="19" hasCustomPrompt="1"/>
          </p:nvPr>
        </p:nvSpPr>
        <p:spPr>
          <a:xfrm>
            <a:off x="4173066" y="6475598"/>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A206DF68-45AF-4E08-BA36-E0B6D0CF5386}"/>
              </a:ext>
            </a:extLst>
          </p:cNvPr>
          <p:cNvSpPr>
            <a:spLocks noGrp="1"/>
          </p:cNvSpPr>
          <p:nvPr>
            <p:ph type="body" sz="quarter" idx="20" hasCustomPrompt="1"/>
          </p:nvPr>
        </p:nvSpPr>
        <p:spPr>
          <a:xfrm>
            <a:off x="4173085" y="663334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4"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5"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26"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7"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5"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448543794"/>
      </p:ext>
    </p:extLst>
  </p:cSld>
  <p:clrMapOvr>
    <a:masterClrMapping/>
  </p:clrMapOvr>
  <p:extLst>
    <p:ext uri="{DCECCB84-F9BA-43D5-87BE-67443E8EF086}">
      <p15:sldGuideLst xmlns:p15="http://schemas.microsoft.com/office/powerpoint/2012/main">
        <p15:guide id="1" pos="2880">
          <p15:clr>
            <a:srgbClr val="000000"/>
          </p15:clr>
        </p15:guide>
        <p15:guide id="2" pos="2743">
          <p15:clr>
            <a:srgbClr val="00000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35" y="1150631"/>
            <a:ext cx="4828117" cy="720000"/>
          </a:xfrm>
        </p:spPr>
        <p:txBody>
          <a:bodyPr>
            <a:normAutofit/>
          </a:bodyPr>
          <a:lstStyle>
            <a:lvl1pPr>
              <a:lnSpc>
                <a:spcPct val="108000"/>
              </a:lnSpc>
              <a:defRPr sz="1999"/>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51" y="2075391"/>
            <a:ext cx="4828116"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35"/>
            <a:ext cx="561763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96001" y="3679200"/>
            <a:ext cx="5617632" cy="2325600"/>
          </a:xfrm>
        </p:spPr>
        <p:txBody>
          <a:bodyPr tIns="720000" anchor="ctr" anchorCtr="0"/>
          <a:lstStyle>
            <a:lvl1pPr marL="0" indent="0" algn="ctr">
              <a:buNone/>
              <a:defRPr/>
            </a:lvl1pPr>
          </a:lstStyle>
          <a:p>
            <a:r>
              <a:rPr lang="da-DK" dirty="0"/>
              <a:t>Klik på ikonet for at tilføje et billede</a:t>
            </a:r>
          </a:p>
        </p:txBody>
      </p:sp>
      <p:sp>
        <p:nvSpPr>
          <p:cNvPr id="18" name="Tjenestebrug">
            <a:extLst>
              <a:ext uri="{FF2B5EF4-FFF2-40B4-BE49-F238E27FC236}">
                <a16:creationId xmlns:a16="http://schemas.microsoft.com/office/drawing/2014/main" id="{48512F60-E631-40CD-9BB2-460B0C08AA9A}"/>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07818D5B-E0E6-4063-BCE8-F369604002CB}"/>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1" name="Tjenestebrug">
            <a:extLst>
              <a:ext uri="{FF2B5EF4-FFF2-40B4-BE49-F238E27FC236}">
                <a16:creationId xmlns:a16="http://schemas.microsoft.com/office/drawing/2014/main" id="{C0B00DF4-5DE8-422F-AC74-36A71D47AA33}"/>
              </a:ext>
            </a:extLst>
          </p:cNvPr>
          <p:cNvSpPr>
            <a:spLocks noGrp="1"/>
          </p:cNvSpPr>
          <p:nvPr>
            <p:ph type="body" sz="quarter" idx="19" hasCustomPrompt="1"/>
          </p:nvPr>
        </p:nvSpPr>
        <p:spPr>
          <a:xfrm>
            <a:off x="4173066" y="649237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2" name="Afklassificeret">
            <a:extLst>
              <a:ext uri="{FF2B5EF4-FFF2-40B4-BE49-F238E27FC236}">
                <a16:creationId xmlns:a16="http://schemas.microsoft.com/office/drawing/2014/main" id="{4D21C6AA-4742-4444-8727-8DC56B4823BB}"/>
              </a:ext>
            </a:extLst>
          </p:cNvPr>
          <p:cNvSpPr>
            <a:spLocks noGrp="1"/>
          </p:cNvSpPr>
          <p:nvPr>
            <p:ph type="body" sz="quarter" idx="20" hasCustomPrompt="1"/>
          </p:nvPr>
        </p:nvSpPr>
        <p:spPr>
          <a:xfrm>
            <a:off x="4173085" y="665012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6"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27"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8"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303598643"/>
      </p:ext>
    </p:extLst>
  </p:cSld>
  <p:clrMapOvr>
    <a:masterClrMapping/>
  </p:clrMapOvr>
  <p:extLst>
    <p:ext uri="{DCECCB84-F9BA-43D5-87BE-67443E8EF086}">
      <p15:sldGuideLst xmlns:p15="http://schemas.microsoft.com/office/powerpoint/2012/main">
        <p15:guide id="1" pos="2880">
          <p15:clr>
            <a:srgbClr val="000000"/>
          </p15:clr>
        </p15:guide>
        <p15:guide id="3" pos="2757">
          <p15:clr>
            <a:srgbClr val="00000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1007535" y="1150631"/>
            <a:ext cx="4828117" cy="720000"/>
          </a:xfrm>
        </p:spPr>
        <p:txBody>
          <a:bodyPr>
            <a:normAutofit/>
          </a:bodyPr>
          <a:lstStyle>
            <a:lvl1pPr>
              <a:lnSpc>
                <a:spcPct val="108000"/>
              </a:lnSpc>
              <a:defRPr sz="1999"/>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1007551" y="2075390"/>
            <a:ext cx="4828116" cy="1402111"/>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96002" y="1150635"/>
            <a:ext cx="561763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96001" y="3679200"/>
            <a:ext cx="5617632"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1007551"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5178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9" name="Tjenestebrug">
            <a:extLst>
              <a:ext uri="{FF2B5EF4-FFF2-40B4-BE49-F238E27FC236}">
                <a16:creationId xmlns:a16="http://schemas.microsoft.com/office/drawing/2014/main" id="{F6E774BD-665C-40A5-9BF7-CD20C74F193E}"/>
              </a:ext>
            </a:extLst>
          </p:cNvPr>
          <p:cNvSpPr>
            <a:spLocks noGrp="1"/>
          </p:cNvSpPr>
          <p:nvPr>
            <p:ph type="body" sz="quarter" idx="18"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B86325BD-FC5F-4D48-8923-87AADE8167EA}"/>
              </a:ext>
            </a:extLst>
          </p:cNvPr>
          <p:cNvSpPr>
            <a:spLocks noGrp="1"/>
          </p:cNvSpPr>
          <p:nvPr>
            <p:ph type="body" sz="quarter" idx="19"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2" name="Tjenestebrug">
            <a:extLst>
              <a:ext uri="{FF2B5EF4-FFF2-40B4-BE49-F238E27FC236}">
                <a16:creationId xmlns:a16="http://schemas.microsoft.com/office/drawing/2014/main" id="{CB3639F6-78E7-49A7-B375-DCDCCF3BB7F2}"/>
              </a:ext>
            </a:extLst>
          </p:cNvPr>
          <p:cNvSpPr>
            <a:spLocks noGrp="1"/>
          </p:cNvSpPr>
          <p:nvPr>
            <p:ph type="body" sz="quarter" idx="21" hasCustomPrompt="1"/>
          </p:nvPr>
        </p:nvSpPr>
        <p:spPr>
          <a:xfrm>
            <a:off x="4173066" y="649237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23" name="Afklassificeret">
            <a:extLst>
              <a:ext uri="{FF2B5EF4-FFF2-40B4-BE49-F238E27FC236}">
                <a16:creationId xmlns:a16="http://schemas.microsoft.com/office/drawing/2014/main" id="{24BEEBE3-21E5-46D7-ACF3-0E53118F575E}"/>
              </a:ext>
            </a:extLst>
          </p:cNvPr>
          <p:cNvSpPr>
            <a:spLocks noGrp="1"/>
          </p:cNvSpPr>
          <p:nvPr>
            <p:ph type="body" sz="quarter" idx="22" hasCustomPrompt="1"/>
          </p:nvPr>
        </p:nvSpPr>
        <p:spPr>
          <a:xfrm>
            <a:off x="4173085" y="665012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pic>
        <p:nvPicPr>
          <p:cNvPr id="25" name="Picture 3"/>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5409" y="74232"/>
            <a:ext cx="2035728" cy="55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Billed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9" name="Pladsholder til dato 14"/>
          <p:cNvSpPr>
            <a:spLocks noGrp="1"/>
          </p:cNvSpPr>
          <p:nvPr>
            <p:ph type="dt" sz="half" idx="25"/>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30"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31" name="Pladsholder til tekst 2"/>
          <p:cNvSpPr>
            <a:spLocks noGrp="1"/>
          </p:cNvSpPr>
          <p:nvPr>
            <p:ph type="body" sz="quarter" idx="26"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32" name="Pladsholder til tekst 2"/>
          <p:cNvSpPr>
            <a:spLocks noGrp="1"/>
          </p:cNvSpPr>
          <p:nvPr>
            <p:ph type="body" sz="quarter" idx="27"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21"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939747593"/>
      </p:ext>
    </p:extLst>
  </p:cSld>
  <p:clrMapOvr>
    <a:masterClrMapping/>
  </p:clrMapOvr>
  <p:extLst>
    <p:ext uri="{DCECCB84-F9BA-43D5-87BE-67443E8EF086}">
      <p15:sldGuideLst xmlns:p15="http://schemas.microsoft.com/office/powerpoint/2012/main">
        <p15:guide id="1" pos="2880">
          <p15:clr>
            <a:srgbClr val="000000"/>
          </p15:clr>
        </p15:guide>
        <p15:guide id="2" pos="2757">
          <p15:clr>
            <a:srgbClr val="000000"/>
          </p15:clr>
        </p15:guide>
        <p15:guide id="3" pos="1555">
          <p15:clr>
            <a:srgbClr val="000000"/>
          </p15:clr>
        </p15:guide>
        <p15:guide id="4" pos="1678">
          <p15:clr>
            <a:srgbClr val="00000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p:nvPr>
        </p:nvSpPr>
        <p:spPr>
          <a:xfrm>
            <a:off x="492154" y="914404"/>
            <a:ext cx="11223597" cy="4588779"/>
          </a:xfrm>
        </p:spPr>
        <p:txBody>
          <a:bodyPr rIns="0" anchor="ctr" anchorCtr="0"/>
          <a:lstStyle>
            <a:lvl1pPr marL="0" indent="0" algn="ctr">
              <a:buNone/>
              <a:defRPr/>
            </a:lvl1pPr>
          </a:lstStyle>
          <a:p>
            <a:r>
              <a:rPr lang="da-DK"/>
              <a:t>Klik på ikonet for at tilføje et billede</a:t>
            </a:r>
            <a:endParaRPr lang="da-DK" dirty="0"/>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007546" y="3753489"/>
            <a:ext cx="3519071" cy="2250447"/>
          </a:xfrm>
          <a:solidFill>
            <a:schemeClr val="accent2"/>
          </a:solidFill>
        </p:spPr>
        <p:txBody>
          <a:bodyPr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79946" indent="-179946">
              <a:spcBef>
                <a:spcPts val="1500"/>
              </a:spcBef>
              <a:defRPr sz="1000">
                <a:solidFill>
                  <a:schemeClr val="bg1"/>
                </a:solidFill>
              </a:defRPr>
            </a:lvl3pPr>
            <a:lvl4pPr marL="359892" indent="-179946">
              <a:spcBef>
                <a:spcPts val="1500"/>
              </a:spcBef>
              <a:defRPr sz="1000">
                <a:solidFill>
                  <a:schemeClr val="bg1"/>
                </a:solidFill>
              </a:defRPr>
            </a:lvl4pPr>
            <a:lvl5pPr marL="539838" indent="-179946">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Tjenestebrug">
            <a:extLst>
              <a:ext uri="{FF2B5EF4-FFF2-40B4-BE49-F238E27FC236}">
                <a16:creationId xmlns:a16="http://schemas.microsoft.com/office/drawing/2014/main" id="{35FE3095-6256-4962-9810-7FE06144F6C9}"/>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697ACF4C-8228-4590-A676-70732BB2AE67}"/>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8" name="Tjenestebrug">
            <a:extLst>
              <a:ext uri="{FF2B5EF4-FFF2-40B4-BE49-F238E27FC236}">
                <a16:creationId xmlns:a16="http://schemas.microsoft.com/office/drawing/2014/main" id="{4E2DFBD9-C552-49EE-BD61-32F76BC1BC19}"/>
              </a:ext>
            </a:extLst>
          </p:cNvPr>
          <p:cNvSpPr>
            <a:spLocks noGrp="1"/>
          </p:cNvSpPr>
          <p:nvPr>
            <p:ph type="body" sz="quarter" idx="19" hasCustomPrompt="1"/>
          </p:nvPr>
        </p:nvSpPr>
        <p:spPr>
          <a:xfrm>
            <a:off x="4173066" y="6500765"/>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47A7FB00-BA12-423F-ADC1-A99210B37699}"/>
              </a:ext>
            </a:extLst>
          </p:cNvPr>
          <p:cNvSpPr>
            <a:spLocks noGrp="1"/>
          </p:cNvSpPr>
          <p:nvPr>
            <p:ph type="body" sz="quarter" idx="20" hasCustomPrompt="1"/>
          </p:nvPr>
        </p:nvSpPr>
        <p:spPr>
          <a:xfrm>
            <a:off x="4173085" y="6658515"/>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6"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7" name="Pladsholder til sidefod 15"/>
          <p:cNvSpPr>
            <a:spLocks noGrp="1"/>
          </p:cNvSpPr>
          <p:nvPr>
            <p:ph type="ftr" sz="quarter" idx="26"/>
          </p:nvPr>
        </p:nvSpPr>
        <p:spPr>
          <a:xfrm>
            <a:off x="8226827" y="6420476"/>
            <a:ext cx="2988644" cy="146223"/>
          </a:xfrm>
        </p:spPr>
        <p:txBody>
          <a:bodyPr/>
          <a:lstStyle/>
          <a:p>
            <a:endParaRPr lang="en-GB" dirty="0">
              <a:solidFill>
                <a:prstClr val="black"/>
              </a:solidFill>
            </a:endParaRPr>
          </a:p>
        </p:txBody>
      </p:sp>
      <p:sp>
        <p:nvSpPr>
          <p:cNvPr id="28" name="Pladsholder til tekst 2"/>
          <p:cNvSpPr>
            <a:spLocks noGrp="1"/>
          </p:cNvSpPr>
          <p:nvPr>
            <p:ph type="body" sz="quarter" idx="27"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9" name="Pladsholder til tekst 2"/>
          <p:cNvSpPr>
            <a:spLocks noGrp="1"/>
          </p:cNvSpPr>
          <p:nvPr>
            <p:ph type="body" sz="quarter" idx="28"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7"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20" name="Billed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Tree>
    <p:extLst>
      <p:ext uri="{BB962C8B-B14F-4D97-AF65-F5344CB8AC3E}">
        <p14:creationId xmlns:p14="http://schemas.microsoft.com/office/powerpoint/2010/main" val="638671546"/>
      </p:ext>
    </p:extLst>
  </p:cSld>
  <p:clrMapOvr>
    <a:masterClrMapping/>
  </p:clrMapOvr>
  <p:extLst>
    <p:ext uri="{DCECCB84-F9BA-43D5-87BE-67443E8EF086}">
      <p15:sldGuideLst xmlns:p15="http://schemas.microsoft.com/office/powerpoint/2012/main">
        <p15:guide id="1" pos="226">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pic>
        <p:nvPicPr>
          <p:cNvPr id="20" name="Billed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 name="Title 1"/>
          <p:cNvSpPr>
            <a:spLocks noGrp="1"/>
          </p:cNvSpPr>
          <p:nvPr>
            <p:ph type="title" hasCustomPrompt="1"/>
          </p:nvPr>
        </p:nvSpPr>
        <p:spPr/>
        <p:txBody>
          <a:bodyPr/>
          <a:lstStyle>
            <a:lvl1pPr>
              <a:defRPr/>
            </a:lvl1pPr>
          </a:lstStyle>
          <a:p>
            <a:r>
              <a:rPr lang="da-DK" dirty="0"/>
              <a:t>Klik her for at tilføje en titel</a:t>
            </a:r>
          </a:p>
        </p:txBody>
      </p:sp>
      <p:sp>
        <p:nvSpPr>
          <p:cNvPr id="12" name="Tjenestebrug">
            <a:extLst>
              <a:ext uri="{FF2B5EF4-FFF2-40B4-BE49-F238E27FC236}">
                <a16:creationId xmlns:a16="http://schemas.microsoft.com/office/drawing/2014/main" id="{D1868055-18E6-40E8-B805-B82F14A9584C}"/>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3" name="Afklassificeret">
            <a:extLst>
              <a:ext uri="{FF2B5EF4-FFF2-40B4-BE49-F238E27FC236}">
                <a16:creationId xmlns:a16="http://schemas.microsoft.com/office/drawing/2014/main" id="{8126867F-BD3A-45BA-96EE-6E9AE4F5EE72}"/>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5" name="Tjenestebrug">
            <a:extLst>
              <a:ext uri="{FF2B5EF4-FFF2-40B4-BE49-F238E27FC236}">
                <a16:creationId xmlns:a16="http://schemas.microsoft.com/office/drawing/2014/main" id="{64E702A2-5A83-4FD2-A285-D7CF9FDB7FE8}"/>
              </a:ext>
            </a:extLst>
          </p:cNvPr>
          <p:cNvSpPr>
            <a:spLocks noGrp="1"/>
          </p:cNvSpPr>
          <p:nvPr>
            <p:ph type="body" sz="quarter" idx="19" hasCustomPrompt="1"/>
          </p:nvPr>
        </p:nvSpPr>
        <p:spPr>
          <a:xfrm>
            <a:off x="4173066" y="6475598"/>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D07E64A7-4EFA-440B-9CFF-446374F93970}"/>
              </a:ext>
            </a:extLst>
          </p:cNvPr>
          <p:cNvSpPr>
            <a:spLocks noGrp="1"/>
          </p:cNvSpPr>
          <p:nvPr>
            <p:ph type="body" sz="quarter" idx="20" hasCustomPrompt="1"/>
          </p:nvPr>
        </p:nvSpPr>
        <p:spPr>
          <a:xfrm>
            <a:off x="4173085" y="6633347"/>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22"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3"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24"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25"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14"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29415497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1" y="-16779"/>
            <a:ext cx="121932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30" name="Tjenestebrug">
            <a:extLst>
              <a:ext uri="{FF2B5EF4-FFF2-40B4-BE49-F238E27FC236}">
                <a16:creationId xmlns:a16="http://schemas.microsoft.com/office/drawing/2014/main" id="{109BD2B5-7217-4402-8504-4D89994143C6}"/>
              </a:ext>
            </a:extLst>
          </p:cNvPr>
          <p:cNvSpPr>
            <a:spLocks noGrp="1"/>
          </p:cNvSpPr>
          <p:nvPr>
            <p:ph type="body" sz="quarter" idx="16" hasCustomPrompt="1"/>
          </p:nvPr>
        </p:nvSpPr>
        <p:spPr>
          <a:xfrm>
            <a:off x="4173068" y="113156"/>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31" name="Afklassificeret">
            <a:extLst>
              <a:ext uri="{FF2B5EF4-FFF2-40B4-BE49-F238E27FC236}">
                <a16:creationId xmlns:a16="http://schemas.microsoft.com/office/drawing/2014/main" id="{D3455C4F-081F-496E-8ADA-6A7B9DBB65A8}"/>
              </a:ext>
            </a:extLst>
          </p:cNvPr>
          <p:cNvSpPr>
            <a:spLocks noGrp="1"/>
          </p:cNvSpPr>
          <p:nvPr>
            <p:ph type="body" sz="quarter" idx="17" hasCustomPrompt="1"/>
          </p:nvPr>
        </p:nvSpPr>
        <p:spPr>
          <a:xfrm>
            <a:off x="4173086" y="277203"/>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33" name="Tjenestebrug">
            <a:extLst>
              <a:ext uri="{FF2B5EF4-FFF2-40B4-BE49-F238E27FC236}">
                <a16:creationId xmlns:a16="http://schemas.microsoft.com/office/drawing/2014/main" id="{7A523A2A-D771-44C9-995A-1AB3E66FDB06}"/>
              </a:ext>
            </a:extLst>
          </p:cNvPr>
          <p:cNvSpPr>
            <a:spLocks noGrp="1"/>
          </p:cNvSpPr>
          <p:nvPr>
            <p:ph type="body" sz="quarter" idx="19" hasCustomPrompt="1"/>
          </p:nvPr>
        </p:nvSpPr>
        <p:spPr>
          <a:xfrm>
            <a:off x="4173066" y="6467209"/>
            <a:ext cx="3845867" cy="175319"/>
          </a:xfrm>
        </p:spPr>
        <p:txBody>
          <a:bodyPr anchor="b" anchorCtr="0"/>
          <a:lstStyle>
            <a:lvl1pPr marL="0" indent="0" algn="ctr">
              <a:lnSpc>
                <a:spcPct val="100000"/>
              </a:lnSpc>
              <a:spcBef>
                <a:spcPts val="0"/>
              </a:spcBef>
              <a:buNone/>
              <a:defRPr sz="1000" cap="all" baseline="0"/>
            </a:lvl1pPr>
            <a:lvl2pPr marL="287914" indent="0">
              <a:buNone/>
              <a:defRPr sz="1000"/>
            </a:lvl2pPr>
            <a:lvl3pPr marL="575827" indent="0">
              <a:buNone/>
              <a:defRPr sz="1000"/>
            </a:lvl3pPr>
            <a:lvl4pPr marL="575827" indent="0">
              <a:buNone/>
              <a:defRPr sz="1000"/>
            </a:lvl4pPr>
            <a:lvl5pPr marL="575827" indent="0">
              <a:buNone/>
              <a:defRPr sz="1000"/>
            </a:lvl5pPr>
          </a:lstStyle>
          <a:p>
            <a:pPr lvl="0"/>
            <a:r>
              <a:rPr lang="da-DK" noProof="0" dirty="0"/>
              <a:t>Klik for at tilføje tekst</a:t>
            </a:r>
          </a:p>
        </p:txBody>
      </p:sp>
      <p:sp>
        <p:nvSpPr>
          <p:cNvPr id="34" name="Afklassificeret">
            <a:extLst>
              <a:ext uri="{FF2B5EF4-FFF2-40B4-BE49-F238E27FC236}">
                <a16:creationId xmlns:a16="http://schemas.microsoft.com/office/drawing/2014/main" id="{D7D1BE7F-D5EB-4217-B570-3410E62B4202}"/>
              </a:ext>
            </a:extLst>
          </p:cNvPr>
          <p:cNvSpPr>
            <a:spLocks noGrp="1"/>
          </p:cNvSpPr>
          <p:nvPr>
            <p:ph type="body" sz="quarter" idx="20" hasCustomPrompt="1"/>
          </p:nvPr>
        </p:nvSpPr>
        <p:spPr>
          <a:xfrm>
            <a:off x="4173085" y="6624959"/>
            <a:ext cx="3845865" cy="126892"/>
          </a:xfrm>
        </p:spPr>
        <p:txBody>
          <a:bodyPr anchor="ctr" anchorCtr="0"/>
          <a:lstStyle>
            <a:lvl1pPr marL="0" indent="0" algn="ctr">
              <a:lnSpc>
                <a:spcPct val="100000"/>
              </a:lnSpc>
              <a:spcBef>
                <a:spcPts val="0"/>
              </a:spcBef>
              <a:buNone/>
              <a:defRPr sz="700" cap="all" baseline="0"/>
            </a:lvl1pPr>
            <a:lvl2pPr marL="287914" indent="0" algn="ctr">
              <a:buNone/>
              <a:defRPr sz="700"/>
            </a:lvl2pPr>
            <a:lvl3pPr marL="575827" indent="0" algn="ctr">
              <a:buNone/>
              <a:defRPr sz="700"/>
            </a:lvl3pPr>
            <a:lvl4pPr marL="575827" indent="0" algn="ctr">
              <a:buNone/>
              <a:defRPr sz="700"/>
            </a:lvl4pPr>
            <a:lvl5pPr marL="575827" indent="0" algn="ctr">
              <a:buNone/>
              <a:defRPr sz="700"/>
            </a:lvl5pPr>
          </a:lstStyle>
          <a:p>
            <a:pPr lvl="0"/>
            <a:r>
              <a:rPr lang="da-DK" noProof="0" dirty="0"/>
              <a:t>Klik for at tilføje tekst</a:t>
            </a:r>
          </a:p>
        </p:txBody>
      </p:sp>
      <p:sp>
        <p:nvSpPr>
          <p:cNvPr id="19" name="Tekstboks 18"/>
          <p:cNvSpPr txBox="1"/>
          <p:nvPr userDrawn="1"/>
        </p:nvSpPr>
        <p:spPr>
          <a:xfrm>
            <a:off x="754923" y="5634847"/>
            <a:ext cx="2202335" cy="807913"/>
          </a:xfrm>
          <a:prstGeom prst="rect">
            <a:avLst/>
          </a:prstGeom>
          <a:noFill/>
        </p:spPr>
        <p:txBody>
          <a:bodyPr wrap="square" lIns="0" tIns="0" rIns="0" bIns="0" rtlCol="0">
            <a:spAutoFit/>
          </a:bodyPr>
          <a:lstStyle/>
          <a:p>
            <a:pPr>
              <a:lnSpc>
                <a:spcPct val="125000"/>
              </a:lnSpc>
            </a:pPr>
            <a:r>
              <a:rPr lang="da-DK" sz="700" dirty="0">
                <a:solidFill>
                  <a:prstClr val="black"/>
                </a:solidFill>
              </a:rPr>
              <a:t>Herningvej 30</a:t>
            </a:r>
          </a:p>
          <a:p>
            <a:pPr>
              <a:lnSpc>
                <a:spcPct val="125000"/>
              </a:lnSpc>
            </a:pPr>
            <a:r>
              <a:rPr lang="da-DK" sz="700" dirty="0">
                <a:solidFill>
                  <a:prstClr val="black"/>
                </a:solidFill>
              </a:rPr>
              <a:t>7470 Karup J</a:t>
            </a:r>
          </a:p>
          <a:p>
            <a:pPr>
              <a:lnSpc>
                <a:spcPct val="125000"/>
              </a:lnSpc>
            </a:pPr>
            <a:endParaRPr lang="da-DK" sz="700" dirty="0">
              <a:solidFill>
                <a:prstClr val="black"/>
              </a:solidFill>
            </a:endParaRPr>
          </a:p>
          <a:p>
            <a:pPr>
              <a:lnSpc>
                <a:spcPct val="125000"/>
              </a:lnSpc>
            </a:pPr>
            <a:r>
              <a:rPr lang="da-DK" sz="700" dirty="0">
                <a:solidFill>
                  <a:prstClr val="black"/>
                </a:solidFill>
              </a:rPr>
              <a:t>Telefon: 7284 0000</a:t>
            </a:r>
          </a:p>
          <a:p>
            <a:pPr>
              <a:lnSpc>
                <a:spcPct val="125000"/>
              </a:lnSpc>
            </a:pPr>
            <a:r>
              <a:rPr lang="da-DK" sz="700" dirty="0">
                <a:solidFill>
                  <a:prstClr val="black"/>
                </a:solidFill>
              </a:rPr>
              <a:t>E-mail: </a:t>
            </a:r>
            <a:r>
              <a:rPr lang="da-DK" sz="700" dirty="0">
                <a:solidFill>
                  <a:prstClr val="black"/>
                </a:solidFill>
                <a:hlinkClick r:id="rId2"/>
              </a:rPr>
              <a:t>FKO@mil.dk</a:t>
            </a:r>
            <a:endParaRPr lang="da-DK" sz="700" dirty="0">
              <a:solidFill>
                <a:prstClr val="black"/>
              </a:solidFill>
            </a:endParaRPr>
          </a:p>
          <a:p>
            <a:pPr>
              <a:lnSpc>
                <a:spcPct val="125000"/>
              </a:lnSpc>
            </a:pPr>
            <a:r>
              <a:rPr lang="da-DK" sz="700" dirty="0">
                <a:solidFill>
                  <a:prstClr val="black"/>
                </a:solidFill>
              </a:rPr>
              <a:t>www.forsvaret.dk</a:t>
            </a:r>
          </a:p>
        </p:txBody>
      </p:sp>
      <p:sp>
        <p:nvSpPr>
          <p:cNvPr id="16" name="Titel 15"/>
          <p:cNvSpPr>
            <a:spLocks noGrp="1"/>
          </p:cNvSpPr>
          <p:nvPr>
            <p:ph type="title"/>
          </p:nvPr>
        </p:nvSpPr>
        <p:spPr>
          <a:xfrm>
            <a:off x="891042" y="3172379"/>
            <a:ext cx="10706097" cy="1179821"/>
          </a:xfrm>
        </p:spPr>
        <p:txBody>
          <a:bodyPr/>
          <a:lstStyle>
            <a:lvl1pPr algn="ctr">
              <a:defRPr/>
            </a:lvl1pPr>
          </a:lstStyle>
          <a:p>
            <a:r>
              <a:rPr lang="da-DK"/>
              <a:t>Klik for at redigere i master</a:t>
            </a:r>
          </a:p>
        </p:txBody>
      </p:sp>
      <p:pic>
        <p:nvPicPr>
          <p:cNvPr id="11" name="Picture 2" descr="http://team.msp.forsvaret.fiin.dk/sites/Haerkommandoen/SiteAssets/SitePages/Startside/haermaerke.gif"/>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94635" y="5141985"/>
            <a:ext cx="488359" cy="410665"/>
          </a:xfrm>
          <a:prstGeom prst="rect">
            <a:avLst/>
          </a:prstGeom>
          <a:noFill/>
          <a:extLst>
            <a:ext uri="{909E8E84-426E-40DD-AFC4-6F175D3DCCD1}">
              <a14:hiddenFill xmlns:a14="http://schemas.microsoft.com/office/drawing/2010/main">
                <a:solidFill>
                  <a:srgbClr val="FFFFFF"/>
                </a:solidFill>
              </a14:hiddenFill>
            </a:ext>
          </a:extLst>
        </p:spPr>
      </p:pic>
      <p:sp>
        <p:nvSpPr>
          <p:cNvPr id="12" name="Tekstboks 11"/>
          <p:cNvSpPr txBox="1"/>
          <p:nvPr userDrawn="1"/>
        </p:nvSpPr>
        <p:spPr>
          <a:xfrm>
            <a:off x="1251395" y="5331435"/>
            <a:ext cx="1321247" cy="153888"/>
          </a:xfrm>
          <a:prstGeom prst="rect">
            <a:avLst/>
          </a:prstGeom>
          <a:noFill/>
        </p:spPr>
        <p:txBody>
          <a:bodyPr wrap="square" lIns="0" tIns="0" rIns="0" bIns="0" rtlCol="0">
            <a:spAutoFit/>
          </a:bodyPr>
          <a:lstStyle/>
          <a:p>
            <a:pPr>
              <a:lnSpc>
                <a:spcPct val="125000"/>
              </a:lnSpc>
            </a:pPr>
            <a:r>
              <a:rPr lang="da-DK" sz="800" dirty="0">
                <a:solidFill>
                  <a:prstClr val="black"/>
                </a:solidFill>
              </a:rPr>
              <a:t>Hæren</a:t>
            </a:r>
          </a:p>
        </p:txBody>
      </p:sp>
    </p:spTree>
    <p:extLst>
      <p:ext uri="{BB962C8B-B14F-4D97-AF65-F5344CB8AC3E}">
        <p14:creationId xmlns:p14="http://schemas.microsoft.com/office/powerpoint/2010/main" val="37041362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12"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13" name="Pladsholder til sidefod 15"/>
          <p:cNvSpPr>
            <a:spLocks noGrp="1"/>
          </p:cNvSpPr>
          <p:nvPr>
            <p:ph type="ftr" sz="quarter" idx="23"/>
          </p:nvPr>
        </p:nvSpPr>
        <p:spPr>
          <a:xfrm>
            <a:off x="8226827" y="6420476"/>
            <a:ext cx="2988644" cy="146223"/>
          </a:xfrm>
        </p:spPr>
        <p:txBody>
          <a:bodyPr/>
          <a:lstStyle/>
          <a:p>
            <a:endParaRPr lang="en-GB" dirty="0">
              <a:solidFill>
                <a:prstClr val="black"/>
              </a:solidFill>
            </a:endParaRPr>
          </a:p>
        </p:txBody>
      </p:sp>
      <p:sp>
        <p:nvSpPr>
          <p:cNvPr id="14" name="Pladsholder til tekst 2"/>
          <p:cNvSpPr>
            <a:spLocks noGrp="1"/>
          </p:cNvSpPr>
          <p:nvPr>
            <p:ph type="body" sz="quarter" idx="25" hasCustomPrompt="1"/>
          </p:nvPr>
        </p:nvSpPr>
        <p:spPr>
          <a:xfrm>
            <a:off x="8226949" y="6278043"/>
            <a:ext cx="2989691" cy="122237"/>
          </a:xfrm>
        </p:spPr>
        <p:txBody>
          <a:bodyPr/>
          <a:lstStyle>
            <a:lvl1pPr marL="0" indent="0" algn="r">
              <a:buNone/>
              <a:defRPr sz="700" b="1" baseline="0"/>
            </a:lvl1pPr>
          </a:lstStyle>
          <a:p>
            <a:pPr lvl="0"/>
            <a:r>
              <a:rPr lang="da-DK" dirty="0"/>
              <a:t>Klik her for at tilføje titel </a:t>
            </a:r>
          </a:p>
        </p:txBody>
      </p:sp>
      <p:sp>
        <p:nvSpPr>
          <p:cNvPr id="15" name="Pladsholder til tekst 2"/>
          <p:cNvSpPr>
            <a:spLocks noGrp="1"/>
          </p:cNvSpPr>
          <p:nvPr>
            <p:ph type="body" sz="quarter" idx="26" hasCustomPrompt="1"/>
          </p:nvPr>
        </p:nvSpPr>
        <p:spPr>
          <a:xfrm>
            <a:off x="8239319" y="6684883"/>
            <a:ext cx="2989691" cy="122237"/>
          </a:xfrm>
        </p:spPr>
        <p:txBody>
          <a:bodyPr/>
          <a:lstStyle>
            <a:lvl1pPr marL="0" indent="0" algn="r">
              <a:buNone/>
              <a:defRPr sz="700" b="0" i="0"/>
            </a:lvl1pPr>
          </a:lstStyle>
          <a:p>
            <a:pPr lvl="0"/>
            <a:r>
              <a:rPr lang="da-DK" dirty="0"/>
              <a:t>Klik for at tilføje REF</a:t>
            </a:r>
          </a:p>
        </p:txBody>
      </p:sp>
      <p:sp>
        <p:nvSpPr>
          <p:cNvPr id="8"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7337064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HST_underside_type1.1">
    <p:spTree>
      <p:nvGrpSpPr>
        <p:cNvPr id="1" name=""/>
        <p:cNvGrpSpPr/>
        <p:nvPr/>
      </p:nvGrpSpPr>
      <p:grpSpPr>
        <a:xfrm>
          <a:off x="0" y="0"/>
          <a:ext cx="0" cy="0"/>
          <a:chOff x="0" y="0"/>
          <a:chExt cx="0" cy="0"/>
        </a:xfrm>
      </p:grpSpPr>
      <p:sp>
        <p:nvSpPr>
          <p:cNvPr id="8" name="Title 1"/>
          <p:cNvSpPr>
            <a:spLocks noGrp="1"/>
          </p:cNvSpPr>
          <p:nvPr>
            <p:ph type="title"/>
          </p:nvPr>
        </p:nvSpPr>
        <p:spPr>
          <a:xfrm>
            <a:off x="6044967" y="216451"/>
            <a:ext cx="5784112" cy="246357"/>
          </a:xfrm>
          <a:prstGeom prst="rect">
            <a:avLst/>
          </a:prstGeom>
        </p:spPr>
        <p:txBody>
          <a:bodyPr/>
          <a:lstStyle>
            <a:lvl1pPr algn="r">
              <a:defRPr sz="1200" b="1" cap="all" baseline="0">
                <a:solidFill>
                  <a:schemeClr val="tx1"/>
                </a:solidFill>
                <a:latin typeface="Arial" pitchFamily="34" charset="0"/>
                <a:cs typeface="Arial" pitchFamily="34" charset="0"/>
              </a:defRPr>
            </a:lvl1pPr>
          </a:lstStyle>
          <a:p>
            <a:r>
              <a:rPr lang="da-DK"/>
              <a:t>Klik for at redigere titeltypografi i masteren</a:t>
            </a:r>
            <a:endParaRPr lang="en-US" dirty="0"/>
          </a:p>
        </p:txBody>
      </p:sp>
      <p:cxnSp>
        <p:nvCxnSpPr>
          <p:cNvPr id="10" name="Straight Connector 13"/>
          <p:cNvCxnSpPr/>
          <p:nvPr userDrawn="1"/>
        </p:nvCxnSpPr>
        <p:spPr>
          <a:xfrm>
            <a:off x="463874" y="2061219"/>
            <a:ext cx="11251531"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ladsholder til indhold 11"/>
          <p:cNvSpPr>
            <a:spLocks noGrp="1"/>
          </p:cNvSpPr>
          <p:nvPr>
            <p:ph sz="quarter" idx="10"/>
          </p:nvPr>
        </p:nvSpPr>
        <p:spPr>
          <a:xfrm>
            <a:off x="321757" y="2061220"/>
            <a:ext cx="11535833" cy="4173325"/>
          </a:xfrm>
          <a:prstGeom prst="rect">
            <a:avLst/>
          </a:prstGeom>
        </p:spPr>
        <p:txBody>
          <a:bodyPr/>
          <a:lstStyle>
            <a:lvl1pPr marL="0" indent="0">
              <a:buNone/>
              <a:defRPr sz="1999">
                <a:latin typeface="Arial" pitchFamily="34" charset="0"/>
                <a:cs typeface="Arial" pitchFamily="34" charset="0"/>
              </a:defRPr>
            </a:lvl1pPr>
            <a:lvl2pPr marL="0" indent="0">
              <a:buNone/>
              <a:defRPr sz="1600">
                <a:latin typeface="Arial" pitchFamily="34" charset="0"/>
                <a:cs typeface="Arial" pitchFamily="34" charset="0"/>
              </a:defRPr>
            </a:lvl2pPr>
          </a:lstStyle>
          <a:p>
            <a:pPr lvl="0"/>
            <a:r>
              <a:rPr lang="da-DK"/>
              <a:t>Klik for at redigere typografi i masteren</a:t>
            </a:r>
          </a:p>
          <a:p>
            <a:pPr lvl="1"/>
            <a:r>
              <a:rPr lang="da-DK"/>
              <a:t>Andet niveau</a:t>
            </a:r>
          </a:p>
        </p:txBody>
      </p:sp>
      <p:sp>
        <p:nvSpPr>
          <p:cNvPr id="16" name="Pladsholder til tekst 12"/>
          <p:cNvSpPr>
            <a:spLocks noGrp="1"/>
          </p:cNvSpPr>
          <p:nvPr>
            <p:ph type="body" sz="quarter" idx="11"/>
          </p:nvPr>
        </p:nvSpPr>
        <p:spPr>
          <a:xfrm>
            <a:off x="322045" y="1471466"/>
            <a:ext cx="11535523" cy="589767"/>
          </a:xfrm>
          <a:prstGeom prst="rect">
            <a:avLst/>
          </a:prstGeom>
        </p:spPr>
        <p:txBody>
          <a:bodyPr anchor="b"/>
          <a:lstStyle>
            <a:lvl1pPr algn="l">
              <a:buNone/>
              <a:defRPr kumimoji="0" lang="da-DK" sz="2999" b="1" i="0" u="none" strike="noStrike" kern="1200" cap="all" spc="0" normalizeH="0" baseline="0" noProof="0" dirty="0" smtClean="0">
                <a:ln>
                  <a:noFill/>
                </a:ln>
                <a:solidFill>
                  <a:schemeClr val="tx1"/>
                </a:solidFill>
                <a:effectLst/>
                <a:uLnTx/>
                <a:uFillTx/>
                <a:latin typeface="Arial" pitchFamily="34" charset="0"/>
                <a:ea typeface="+mj-ea"/>
                <a:cs typeface="Arial" pitchFamily="34" charset="0"/>
              </a:defRPr>
            </a:lvl1pPr>
          </a:lstStyle>
          <a:p>
            <a:pPr marL="0" marR="0" lvl="0" indent="0" algn="l" defTabSz="457063" rtl="0" eaLnBrk="1" fontAlgn="base" latinLnBrk="0" hangingPunct="1">
              <a:lnSpc>
                <a:spcPct val="100000"/>
              </a:lnSpc>
              <a:spcBef>
                <a:spcPct val="0"/>
              </a:spcBef>
              <a:spcAft>
                <a:spcPct val="0"/>
              </a:spcAft>
              <a:buClrTx/>
              <a:buSzTx/>
              <a:tabLst/>
              <a:defRPr/>
            </a:pPr>
            <a:r>
              <a:rPr lang="da-DK"/>
              <a:t>Klik for at redigere typografi i masteren</a:t>
            </a:r>
          </a:p>
        </p:txBody>
      </p:sp>
      <p:pic>
        <p:nvPicPr>
          <p:cNvPr id="11" name="Billed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882" y="203523"/>
            <a:ext cx="1385441" cy="409872"/>
          </a:xfrm>
          <a:prstGeom prst="rect">
            <a:avLst/>
          </a:prstGeom>
        </p:spPr>
      </p:pic>
    </p:spTree>
    <p:extLst>
      <p:ext uri="{BB962C8B-B14F-4D97-AF65-F5344CB8AC3E}">
        <p14:creationId xmlns:p14="http://schemas.microsoft.com/office/powerpoint/2010/main" val="827235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1007539" y="1150633"/>
            <a:ext cx="10706097"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1007535" y="1871663"/>
            <a:ext cx="758512"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814684" y="1871667"/>
            <a:ext cx="6119792"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1007535" y="2330451"/>
            <a:ext cx="6926941"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8" name="Tjenestebrug">
            <a:extLst>
              <a:ext uri="{FF2B5EF4-FFF2-40B4-BE49-F238E27FC236}">
                <a16:creationId xmlns:a16="http://schemas.microsoft.com/office/drawing/2014/main" id="{4BC199A5-FE27-4EDC-820E-D6B1829FD7AB}"/>
              </a:ext>
            </a:extLst>
          </p:cNvPr>
          <p:cNvSpPr>
            <a:spLocks noGrp="1"/>
          </p:cNvSpPr>
          <p:nvPr>
            <p:ph type="body" sz="quarter" idx="19" hasCustomPrompt="1"/>
          </p:nvPr>
        </p:nvSpPr>
        <p:spPr>
          <a:xfrm>
            <a:off x="4173065" y="6475596"/>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9" name="Afklassificeret">
            <a:extLst>
              <a:ext uri="{FF2B5EF4-FFF2-40B4-BE49-F238E27FC236}">
                <a16:creationId xmlns:a16="http://schemas.microsoft.com/office/drawing/2014/main" id="{29A7BC64-533D-4AA5-8E75-B3674960D315}"/>
              </a:ext>
            </a:extLst>
          </p:cNvPr>
          <p:cNvSpPr>
            <a:spLocks noGrp="1"/>
          </p:cNvSpPr>
          <p:nvPr>
            <p:ph type="body" sz="quarter" idx="20" hasCustomPrompt="1"/>
          </p:nvPr>
        </p:nvSpPr>
        <p:spPr>
          <a:xfrm>
            <a:off x="4173084" y="663334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pic>
        <p:nvPicPr>
          <p:cNvPr id="22" name="Billed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25"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6"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27"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8"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7"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30923758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HOK_underside_type1.1">
    <p:spTree>
      <p:nvGrpSpPr>
        <p:cNvPr id="1" name=""/>
        <p:cNvGrpSpPr/>
        <p:nvPr/>
      </p:nvGrpSpPr>
      <p:grpSpPr>
        <a:xfrm>
          <a:off x="0" y="0"/>
          <a:ext cx="0" cy="0"/>
          <a:chOff x="0" y="0"/>
          <a:chExt cx="0" cy="0"/>
        </a:xfrm>
      </p:grpSpPr>
      <p:sp>
        <p:nvSpPr>
          <p:cNvPr id="8" name="Title 1"/>
          <p:cNvSpPr>
            <a:spLocks noGrp="1"/>
          </p:cNvSpPr>
          <p:nvPr>
            <p:ph type="title"/>
          </p:nvPr>
        </p:nvSpPr>
        <p:spPr>
          <a:xfrm>
            <a:off x="6044967" y="216451"/>
            <a:ext cx="5784112" cy="246357"/>
          </a:xfrm>
          <a:prstGeom prst="rect">
            <a:avLst/>
          </a:prstGeom>
        </p:spPr>
        <p:txBody>
          <a:bodyPr/>
          <a:lstStyle>
            <a:lvl1pPr algn="r">
              <a:defRPr sz="1200" b="1" cap="all" baseline="0">
                <a:solidFill>
                  <a:schemeClr val="tx1"/>
                </a:solidFill>
                <a:latin typeface="Arial" pitchFamily="34" charset="0"/>
                <a:cs typeface="Arial" pitchFamily="34" charset="0"/>
              </a:defRPr>
            </a:lvl1pPr>
          </a:lstStyle>
          <a:p>
            <a:r>
              <a:rPr lang="da-DK"/>
              <a:t>Klik for at redigere titeltypografi i masteren</a:t>
            </a:r>
            <a:endParaRPr lang="en-US" dirty="0"/>
          </a:p>
        </p:txBody>
      </p:sp>
      <p:cxnSp>
        <p:nvCxnSpPr>
          <p:cNvPr id="10" name="Straight Connector 13"/>
          <p:cNvCxnSpPr/>
          <p:nvPr userDrawn="1"/>
        </p:nvCxnSpPr>
        <p:spPr>
          <a:xfrm>
            <a:off x="463874" y="2061219"/>
            <a:ext cx="11251531"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ladsholder til indhold 11"/>
          <p:cNvSpPr>
            <a:spLocks noGrp="1"/>
          </p:cNvSpPr>
          <p:nvPr>
            <p:ph sz="quarter" idx="10"/>
          </p:nvPr>
        </p:nvSpPr>
        <p:spPr>
          <a:xfrm>
            <a:off x="321762" y="2061220"/>
            <a:ext cx="11535833" cy="4173325"/>
          </a:xfrm>
          <a:prstGeom prst="rect">
            <a:avLst/>
          </a:prstGeom>
        </p:spPr>
        <p:txBody>
          <a:bodyPr/>
          <a:lstStyle>
            <a:lvl1pPr marL="0" indent="0">
              <a:buNone/>
              <a:defRPr sz="1999">
                <a:latin typeface="Arial" pitchFamily="34" charset="0"/>
                <a:cs typeface="Arial" pitchFamily="34" charset="0"/>
              </a:defRPr>
            </a:lvl1pPr>
            <a:lvl2pPr marL="0" indent="0">
              <a:buNone/>
              <a:defRPr sz="1600">
                <a:latin typeface="Arial" pitchFamily="34" charset="0"/>
                <a:cs typeface="Arial" pitchFamily="34" charset="0"/>
              </a:defRPr>
            </a:lvl2pPr>
          </a:lstStyle>
          <a:p>
            <a:pPr lvl="0"/>
            <a:r>
              <a:rPr lang="da-DK" dirty="0"/>
              <a:t>Klik for at redigere typografi i masteren</a:t>
            </a:r>
          </a:p>
          <a:p>
            <a:pPr lvl="1"/>
            <a:r>
              <a:rPr lang="da-DK" dirty="0"/>
              <a:t>Andet niveau</a:t>
            </a:r>
          </a:p>
        </p:txBody>
      </p:sp>
      <p:sp>
        <p:nvSpPr>
          <p:cNvPr id="16" name="Pladsholder til tekst 12"/>
          <p:cNvSpPr>
            <a:spLocks noGrp="1"/>
          </p:cNvSpPr>
          <p:nvPr>
            <p:ph type="body" sz="quarter" idx="11"/>
          </p:nvPr>
        </p:nvSpPr>
        <p:spPr>
          <a:xfrm>
            <a:off x="322045" y="1471467"/>
            <a:ext cx="11535523" cy="589767"/>
          </a:xfrm>
          <a:prstGeom prst="rect">
            <a:avLst/>
          </a:prstGeom>
        </p:spPr>
        <p:txBody>
          <a:bodyPr anchor="b"/>
          <a:lstStyle>
            <a:lvl1pPr algn="l">
              <a:buNone/>
              <a:defRPr kumimoji="0" lang="da-DK" sz="2999" b="1" i="0" u="none" strike="noStrike" kern="1200" cap="all" spc="0" normalizeH="0" baseline="0" noProof="0" dirty="0" smtClean="0">
                <a:ln>
                  <a:noFill/>
                </a:ln>
                <a:solidFill>
                  <a:schemeClr val="tx1"/>
                </a:solidFill>
                <a:effectLst/>
                <a:uLnTx/>
                <a:uFillTx/>
                <a:latin typeface="Arial" pitchFamily="34" charset="0"/>
                <a:ea typeface="+mj-ea"/>
                <a:cs typeface="Arial" pitchFamily="34" charset="0"/>
              </a:defRPr>
            </a:lvl1pPr>
          </a:lstStyle>
          <a:p>
            <a:pPr marL="0" marR="0" lvl="0" indent="0" algn="l" defTabSz="457063" rtl="0" eaLnBrk="1" fontAlgn="base" latinLnBrk="0" hangingPunct="1">
              <a:lnSpc>
                <a:spcPct val="100000"/>
              </a:lnSpc>
              <a:spcBef>
                <a:spcPct val="0"/>
              </a:spcBef>
              <a:spcAft>
                <a:spcPct val="0"/>
              </a:spcAft>
              <a:buClrTx/>
              <a:buSzTx/>
              <a:tabLst/>
              <a:defRPr/>
            </a:pPr>
            <a:r>
              <a:rPr lang="da-DK"/>
              <a:t>Klik for at redigere typografi i masteren</a:t>
            </a:r>
          </a:p>
        </p:txBody>
      </p:sp>
      <p:sp>
        <p:nvSpPr>
          <p:cNvPr id="7" name="Pladsholder til sidefod 8"/>
          <p:cNvSpPr>
            <a:spLocks noGrp="1"/>
          </p:cNvSpPr>
          <p:nvPr>
            <p:ph type="ftr" sz="quarter" idx="3"/>
          </p:nvPr>
        </p:nvSpPr>
        <p:spPr>
          <a:xfrm>
            <a:off x="4165601" y="6309247"/>
            <a:ext cx="3860800" cy="365125"/>
          </a:xfrm>
          <a:prstGeom prst="rect">
            <a:avLst/>
          </a:prstGeom>
        </p:spPr>
        <p:txBody>
          <a:bodyPr/>
          <a:lstStyle>
            <a:lvl1pPr algn="ctr" defTabSz="457063" rtl="0" fontAlgn="base">
              <a:spcBef>
                <a:spcPct val="0"/>
              </a:spcBef>
              <a:spcAft>
                <a:spcPct val="0"/>
              </a:spcAft>
              <a:defRPr lang="da-DK" sz="900" b="0" kern="1200" cap="all" baseline="0" dirty="0" smtClean="0">
                <a:solidFill>
                  <a:srgbClr val="FF0000"/>
                </a:solidFill>
                <a:latin typeface="Arial" charset="0"/>
                <a:ea typeface="+mn-ea"/>
                <a:cs typeface="+mn-cs"/>
              </a:defRPr>
            </a:lvl1pPr>
          </a:lstStyle>
          <a:p>
            <a:r>
              <a:t>TIL TJENESTEBRUG</a:t>
            </a:r>
          </a:p>
        </p:txBody>
      </p:sp>
      <p:sp>
        <p:nvSpPr>
          <p:cNvPr id="9" name="Pladsholder til dato 3"/>
          <p:cNvSpPr>
            <a:spLocks noGrp="1"/>
          </p:cNvSpPr>
          <p:nvPr>
            <p:ph type="dt" sz="half" idx="2"/>
          </p:nvPr>
        </p:nvSpPr>
        <p:spPr>
          <a:xfrm>
            <a:off x="9609526" y="6308927"/>
            <a:ext cx="2227799" cy="365125"/>
          </a:xfrm>
          <a:prstGeom prst="rect">
            <a:avLst/>
          </a:prstGeom>
        </p:spPr>
        <p:txBody>
          <a:bodyPr/>
          <a:lstStyle>
            <a:lvl1pPr algn="r">
              <a:defRPr sz="900" b="1">
                <a:solidFill>
                  <a:srgbClr val="FF0000"/>
                </a:solidFill>
              </a:defRPr>
            </a:lvl1pPr>
          </a:lstStyle>
          <a:p>
            <a:fld id="{8337CD2F-C4D0-4FE2-9BF1-E3FE268BD721}" type="datetime1">
              <a:rPr lang="da-DK" smtClean="0"/>
              <a:pPr/>
              <a:t>04-02-2025</a:t>
            </a:fld>
            <a:endParaRPr lang="da-DK"/>
          </a:p>
        </p:txBody>
      </p:sp>
      <p:pic>
        <p:nvPicPr>
          <p:cNvPr id="11" name="Picture Placeholder 21">
            <a:extLst>
              <a:ext uri="{FF2B5EF4-FFF2-40B4-BE49-F238E27FC236}">
                <a16:creationId xmlns:a16="http://schemas.microsoft.com/office/drawing/2014/main" id="{F7C1A1E2-5B76-4C36-8E47-30D148F96A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035" y="299392"/>
            <a:ext cx="4524896" cy="870433"/>
          </a:xfrm>
          <a:prstGeom prst="rect">
            <a:avLst/>
          </a:prstGeom>
        </p:spPr>
      </p:pic>
    </p:spTree>
    <p:extLst>
      <p:ext uri="{BB962C8B-B14F-4D97-AF65-F5344CB8AC3E}">
        <p14:creationId xmlns:p14="http://schemas.microsoft.com/office/powerpoint/2010/main" val="33498539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8"/>
            <a:ext cx="10515600" cy="1325563"/>
          </a:xfrm>
          <a:prstGeom prst="rect">
            <a:avLst/>
          </a:prstGeom>
        </p:spPr>
        <p:txBody>
          <a:bodyPr/>
          <a:lstStyle/>
          <a:p>
            <a:r>
              <a:rPr lang="da-DK"/>
              <a:t>Klik for at redigere i master</a:t>
            </a:r>
            <a:endParaRPr lang="en-GB"/>
          </a:p>
        </p:txBody>
      </p:sp>
      <p:sp>
        <p:nvSpPr>
          <p:cNvPr id="3" name="Content Placeholder 2"/>
          <p:cNvSpPr>
            <a:spLocks noGrp="1"/>
          </p:cNvSpPr>
          <p:nvPr>
            <p:ph idx="1"/>
          </p:nvPr>
        </p:nvSpPr>
        <p:spPr>
          <a:xfrm>
            <a:off x="838201" y="1825625"/>
            <a:ext cx="10515600" cy="4351339"/>
          </a:xfrm>
          <a:prstGeom prst="rect">
            <a:avLst/>
          </a:prstGeo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GB"/>
          </a:p>
        </p:txBody>
      </p:sp>
      <p:sp>
        <p:nvSpPr>
          <p:cNvPr id="4" name="Date Placeholder 3"/>
          <p:cNvSpPr>
            <a:spLocks noGrp="1"/>
          </p:cNvSpPr>
          <p:nvPr>
            <p:ph type="dt" sz="half" idx="10"/>
          </p:nvPr>
        </p:nvSpPr>
        <p:spPr>
          <a:xfrm>
            <a:off x="838200" y="6356355"/>
            <a:ext cx="2743200" cy="365125"/>
          </a:xfrm>
          <a:prstGeom prst="rect">
            <a:avLst/>
          </a:prstGeom>
        </p:spPr>
        <p:txBody>
          <a:bodyPr/>
          <a:lstStyle/>
          <a:p>
            <a:fld id="{76394AA9-4115-440A-B49D-BFE35C974051}" type="datetimeFigureOut">
              <a:rPr lang="da-DK" smtClean="0">
                <a:solidFill>
                  <a:prstClr val="black"/>
                </a:solidFill>
              </a:rPr>
              <a:pPr/>
              <a:t>04-02-2025</a:t>
            </a:fld>
            <a:endParaRPr lang="da-DK">
              <a:solidFill>
                <a:prstClr val="black"/>
              </a:solidFill>
            </a:endParaRPr>
          </a:p>
        </p:txBody>
      </p:sp>
      <p:sp>
        <p:nvSpPr>
          <p:cNvPr id="5" name="Footer Placeholder 4"/>
          <p:cNvSpPr>
            <a:spLocks noGrp="1"/>
          </p:cNvSpPr>
          <p:nvPr>
            <p:ph type="ftr" sz="quarter" idx="11"/>
          </p:nvPr>
        </p:nvSpPr>
        <p:spPr>
          <a:xfrm>
            <a:off x="4038601" y="6356355"/>
            <a:ext cx="4114800" cy="365125"/>
          </a:xfrm>
          <a:prstGeom prst="rect">
            <a:avLst/>
          </a:prstGeom>
        </p:spPr>
        <p:txBody>
          <a:bodyPr/>
          <a:lstStyle/>
          <a:p>
            <a:endParaRPr lang="da-DK">
              <a:solidFill>
                <a:prstClr val="black"/>
              </a:solidFill>
            </a:endParaRPr>
          </a:p>
        </p:txBody>
      </p:sp>
      <p:sp>
        <p:nvSpPr>
          <p:cNvPr id="6" name="Slide Number Placeholder 5"/>
          <p:cNvSpPr>
            <a:spLocks noGrp="1"/>
          </p:cNvSpPr>
          <p:nvPr>
            <p:ph type="sldNum" sz="quarter" idx="12"/>
          </p:nvPr>
        </p:nvSpPr>
        <p:spPr>
          <a:xfrm>
            <a:off x="8610600" y="6356355"/>
            <a:ext cx="2743200" cy="365125"/>
          </a:xfrm>
          <a:prstGeom prst="rect">
            <a:avLst/>
          </a:prstGeom>
        </p:spPr>
        <p:txBody>
          <a:bodyPr/>
          <a:lstStyle/>
          <a:p>
            <a:fld id="{F3D25372-6BAC-4495-B7DD-E93B9D22588C}" type="slidenum">
              <a:rPr lang="da-DK" smtClean="0">
                <a:solidFill>
                  <a:prstClr val="black"/>
                </a:solidFill>
              </a:rPr>
              <a:pPr/>
              <a:t>‹nr.›</a:t>
            </a:fld>
            <a:endParaRPr lang="da-DK">
              <a:solidFill>
                <a:prstClr val="black"/>
              </a:solidFill>
            </a:endParaRPr>
          </a:p>
        </p:txBody>
      </p:sp>
    </p:spTree>
    <p:extLst>
      <p:ext uri="{BB962C8B-B14F-4D97-AF65-F5344CB8AC3E}">
        <p14:creationId xmlns:p14="http://schemas.microsoft.com/office/powerpoint/2010/main" val="8539517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7" name="Rektangel 6"/>
          <p:cNvSpPr/>
          <p:nvPr userDrawn="1"/>
        </p:nvSpPr>
        <p:spPr>
          <a:xfrm>
            <a:off x="9135431" y="6336408"/>
            <a:ext cx="3056585" cy="521595"/>
          </a:xfrm>
          <a:prstGeom prst="rect">
            <a:avLst/>
          </a:prstGeom>
          <a:solidFill>
            <a:schemeClr val="bg1"/>
          </a:solidFill>
          <a:ln>
            <a:noFill/>
          </a:ln>
          <a:effectLst>
            <a:outerShdw blurRad="40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799">
              <a:solidFill>
                <a:prstClr val="white"/>
              </a:solidFill>
            </a:endParaRPr>
          </a:p>
        </p:txBody>
      </p:sp>
      <p:sp>
        <p:nvSpPr>
          <p:cNvPr id="8" name="Title 1"/>
          <p:cNvSpPr>
            <a:spLocks noGrp="1"/>
          </p:cNvSpPr>
          <p:nvPr>
            <p:ph type="title"/>
          </p:nvPr>
        </p:nvSpPr>
        <p:spPr>
          <a:xfrm>
            <a:off x="335280" y="685800"/>
            <a:ext cx="11551920" cy="605791"/>
          </a:xfrm>
          <a:prstGeom prst="rect">
            <a:avLst/>
          </a:prstGeom>
        </p:spPr>
        <p:txBody>
          <a:bodyPr anchor="ctr" anchorCtr="1"/>
          <a:lstStyle>
            <a:lvl1pPr>
              <a:defRPr sz="3599"/>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en-US" dirty="0"/>
          </a:p>
        </p:txBody>
      </p:sp>
      <p:sp>
        <p:nvSpPr>
          <p:cNvPr id="9" name="Content Placeholder 2"/>
          <p:cNvSpPr>
            <a:spLocks noGrp="1"/>
          </p:cNvSpPr>
          <p:nvPr>
            <p:ph idx="1"/>
          </p:nvPr>
        </p:nvSpPr>
        <p:spPr>
          <a:xfrm>
            <a:off x="1821963" y="1600204"/>
            <a:ext cx="9760449" cy="4525963"/>
          </a:xfrm>
          <a:prstGeom prst="rect">
            <a:avLst/>
          </a:prstGeom>
        </p:spPr>
        <p:txBody>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err="1"/>
              <a:t>Second</a:t>
            </a:r>
            <a:r>
              <a:rPr lang="da-DK" dirty="0"/>
              <a:t> </a:t>
            </a:r>
            <a:r>
              <a:rPr lang="da-DK" dirty="0" err="1"/>
              <a:t>level</a:t>
            </a:r>
            <a:endParaRPr lang="da-DK" dirty="0"/>
          </a:p>
          <a:p>
            <a:pPr lvl="2"/>
            <a:r>
              <a:rPr lang="da-DK" dirty="0" err="1"/>
              <a:t>Third</a:t>
            </a:r>
            <a:r>
              <a:rPr lang="da-DK" dirty="0"/>
              <a:t> </a:t>
            </a:r>
            <a:r>
              <a:rPr lang="da-DK" dirty="0" err="1"/>
              <a:t>level</a:t>
            </a:r>
            <a:endParaRPr lang="da-DK" dirty="0"/>
          </a:p>
          <a:p>
            <a:pPr lvl="3"/>
            <a:r>
              <a:rPr lang="da-DK" dirty="0" err="1"/>
              <a:t>Fourth</a:t>
            </a:r>
            <a:r>
              <a:rPr lang="da-DK" dirty="0"/>
              <a:t> </a:t>
            </a:r>
            <a:r>
              <a:rPr lang="da-DK" dirty="0" err="1"/>
              <a:t>level</a:t>
            </a:r>
            <a:endParaRPr lang="da-DK" dirty="0"/>
          </a:p>
          <a:p>
            <a:pPr lvl="4"/>
            <a:r>
              <a:rPr lang="da-DK" dirty="0" err="1"/>
              <a:t>Fifth</a:t>
            </a:r>
            <a:r>
              <a:rPr lang="da-DK" dirty="0"/>
              <a:t> </a:t>
            </a:r>
            <a:r>
              <a:rPr lang="da-DK" dirty="0" err="1"/>
              <a:t>level</a:t>
            </a:r>
            <a:endParaRPr lang="en-US" dirty="0"/>
          </a:p>
        </p:txBody>
      </p:sp>
    </p:spTree>
    <p:extLst>
      <p:ext uri="{BB962C8B-B14F-4D97-AF65-F5344CB8AC3E}">
        <p14:creationId xmlns:p14="http://schemas.microsoft.com/office/powerpoint/2010/main" val="36647397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9"/>
            <a:ext cx="2844800" cy="365125"/>
          </a:xfrm>
          <a:prstGeom prst="rect">
            <a:avLst/>
          </a:prstGeom>
        </p:spPr>
        <p:txBody>
          <a:bodyPr/>
          <a:lstStyle/>
          <a:p>
            <a:fld id="{76394AA9-4115-440A-B49D-BFE35C974051}" type="datetimeFigureOut">
              <a:rPr lang="da-DK" smtClean="0">
                <a:solidFill>
                  <a:prstClr val="black"/>
                </a:solidFill>
              </a:rPr>
              <a:pPr/>
              <a:t>04-02-2025</a:t>
            </a:fld>
            <a:endParaRPr lang="da-DK">
              <a:solidFill>
                <a:prstClr val="black"/>
              </a:solidFill>
            </a:endParaRPr>
          </a:p>
        </p:txBody>
      </p:sp>
      <p:sp>
        <p:nvSpPr>
          <p:cNvPr id="3" name="Footer Placeholder 2"/>
          <p:cNvSpPr>
            <a:spLocks noGrp="1"/>
          </p:cNvSpPr>
          <p:nvPr>
            <p:ph type="ftr" sz="quarter" idx="11"/>
          </p:nvPr>
        </p:nvSpPr>
        <p:spPr>
          <a:xfrm>
            <a:off x="4165601" y="6356359"/>
            <a:ext cx="3860800" cy="365125"/>
          </a:xfrm>
          <a:prstGeom prst="rect">
            <a:avLst/>
          </a:prstGeom>
        </p:spPr>
        <p:txBody>
          <a:bodyPr/>
          <a:lstStyle/>
          <a:p>
            <a:endParaRPr lang="da-DK">
              <a:solidFill>
                <a:prstClr val="black"/>
              </a:solidFill>
            </a:endParaRPr>
          </a:p>
        </p:txBody>
      </p:sp>
      <p:sp>
        <p:nvSpPr>
          <p:cNvPr id="4" name="Slide Number Placeholder 3"/>
          <p:cNvSpPr>
            <a:spLocks noGrp="1"/>
          </p:cNvSpPr>
          <p:nvPr>
            <p:ph type="sldNum" sz="quarter" idx="12"/>
          </p:nvPr>
        </p:nvSpPr>
        <p:spPr>
          <a:xfrm>
            <a:off x="8737601" y="6356359"/>
            <a:ext cx="2844800" cy="365125"/>
          </a:xfrm>
          <a:prstGeom prst="rect">
            <a:avLst/>
          </a:prstGeom>
        </p:spPr>
        <p:txBody>
          <a:bodyPr/>
          <a:lstStyle/>
          <a:p>
            <a:fld id="{F3D25372-6BAC-4495-B7DD-E93B9D22588C}" type="slidenum">
              <a:rPr lang="da-DK" smtClean="0">
                <a:solidFill>
                  <a:prstClr val="black"/>
                </a:solidFill>
              </a:rPr>
              <a:pPr/>
              <a:t>‹nr.›</a:t>
            </a:fld>
            <a:endParaRPr lang="da-DK">
              <a:solidFill>
                <a:prstClr val="black"/>
              </a:solidFill>
            </a:endParaRPr>
          </a:p>
        </p:txBody>
      </p:sp>
    </p:spTree>
    <p:extLst>
      <p:ext uri="{BB962C8B-B14F-4D97-AF65-F5344CB8AC3E}">
        <p14:creationId xmlns:p14="http://schemas.microsoft.com/office/powerpoint/2010/main" val="29179225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Brugerdefinere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74" y="1592"/>
          <a:ext cx="1953" cy="1587"/>
        </p:xfrm>
        <a:graphic>
          <a:graphicData uri="http://schemas.openxmlformats.org/presentationml/2006/ole">
            <mc:AlternateContent xmlns:mc="http://schemas.openxmlformats.org/markup-compatibility/2006">
              <mc:Choice xmlns:v="urn:schemas-microsoft-com:vml" Requires="v">
                <p:oleObj spid="_x0000_s212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4"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Lige forbindelse 12"/>
          <p:cNvCxnSpPr/>
          <p:nvPr userDrawn="1"/>
        </p:nvCxnSpPr>
        <p:spPr>
          <a:xfrm>
            <a:off x="1" y="6453336"/>
            <a:ext cx="12192000" cy="0"/>
          </a:xfrm>
          <a:prstGeom prst="line">
            <a:avLst/>
          </a:prstGeom>
          <a:ln w="9525">
            <a:solidFill>
              <a:schemeClr val="bg1">
                <a:lumMod val="9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4" name="LogoTwo_HIDE_1_2" descr="HST_FARVE_da-DK"/>
          <p:cNvPicPr>
            <a:picLocks noChangeAspect="1" noChangeArrowheads="1"/>
          </p:cNvPicPr>
          <p:nvPr userDrawn="1"/>
        </p:nvPicPr>
        <p:blipFill>
          <a:blip r:embed="rId6" cstate="print"/>
          <a:srcRect/>
          <a:stretch>
            <a:fillRect/>
          </a:stretch>
        </p:blipFill>
        <p:spPr bwMode="auto">
          <a:xfrm>
            <a:off x="323874" y="134939"/>
            <a:ext cx="4203700" cy="1079500"/>
          </a:xfrm>
          <a:prstGeom prst="rect">
            <a:avLst/>
          </a:prstGeom>
          <a:noFill/>
          <a:ln w="9525">
            <a:noFill/>
            <a:miter lim="800000"/>
            <a:headEnd/>
            <a:tailEnd/>
          </a:ln>
        </p:spPr>
      </p:pic>
      <p:sp>
        <p:nvSpPr>
          <p:cNvPr id="5" name="Pladsholder til sidefod 12"/>
          <p:cNvSpPr txBox="1">
            <a:spLocks/>
          </p:cNvSpPr>
          <p:nvPr userDrawn="1"/>
        </p:nvSpPr>
        <p:spPr>
          <a:xfrm>
            <a:off x="4206240" y="6492879"/>
            <a:ext cx="3860800" cy="365125"/>
          </a:xfrm>
          <a:prstGeom prst="rect">
            <a:avLst/>
          </a:prstGeom>
        </p:spPr>
        <p:txBody>
          <a:bodyPr lIns="77901" tIns="38951" rIns="77901" bIns="38951"/>
          <a:lstStyle>
            <a:lvl1pPr algn="ctr">
              <a:defRPr sz="1100">
                <a:solidFill>
                  <a:srgbClr val="FF0000"/>
                </a:solidFill>
              </a:defRPr>
            </a:lvl1pPr>
          </a:lstStyle>
          <a:p>
            <a:pPr defTabSz="389490" fontAlgn="base">
              <a:spcBef>
                <a:spcPct val="0"/>
              </a:spcBef>
              <a:spcAft>
                <a:spcPct val="0"/>
              </a:spcAft>
              <a:defRPr/>
            </a:pPr>
            <a:r>
              <a:rPr lang="da-DK" sz="1100" dirty="0">
                <a:latin typeface="Arial" charset="0"/>
              </a:rPr>
              <a:t>TIL SNÆVER BRUG</a:t>
            </a:r>
          </a:p>
        </p:txBody>
      </p:sp>
    </p:spTree>
    <p:extLst>
      <p:ext uri="{BB962C8B-B14F-4D97-AF65-F5344CB8AC3E}">
        <p14:creationId xmlns:p14="http://schemas.microsoft.com/office/powerpoint/2010/main" val="2557836119"/>
      </p:ext>
    </p:extLst>
  </p:cSld>
  <p:clrMapOvr>
    <a:masterClrMapping/>
  </p:clrMapOvr>
  <p:hf hdr="0" ftr="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rugerguide">
    <p:spTree>
      <p:nvGrpSpPr>
        <p:cNvPr id="1" name=""/>
        <p:cNvGrpSpPr/>
        <p:nvPr/>
      </p:nvGrpSpPr>
      <p:grpSpPr>
        <a:xfrm>
          <a:off x="0" y="0"/>
          <a:ext cx="0" cy="0"/>
          <a:chOff x="0" y="0"/>
          <a:chExt cx="0" cy="0"/>
        </a:xfrm>
      </p:grpSpPr>
      <p:grpSp>
        <p:nvGrpSpPr>
          <p:cNvPr id="4" name="Gruppe 3"/>
          <p:cNvGrpSpPr/>
          <p:nvPr userDrawn="1"/>
        </p:nvGrpSpPr>
        <p:grpSpPr>
          <a:xfrm>
            <a:off x="2711869" y="1531598"/>
            <a:ext cx="2270603" cy="752595"/>
            <a:chOff x="2033902" y="1483643"/>
            <a:chExt cx="1702952" cy="752595"/>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3902" y="1483643"/>
              <a:ext cx="1702952" cy="752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3902" y="1483643"/>
              <a:ext cx="392170" cy="163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3" name="4 Nulstil"/>
          <p:cNvPicPr>
            <a:picLocks noChangeAspect="1"/>
          </p:cNvPicPr>
          <p:nvPr userDrawn="1"/>
        </p:nvPicPr>
        <p:blipFill>
          <a:blip r:embed="rId4"/>
          <a:stretch>
            <a:fillRect/>
          </a:stretch>
        </p:blipFill>
        <p:spPr>
          <a:xfrm>
            <a:off x="11015138" y="1687102"/>
            <a:ext cx="797220" cy="216114"/>
          </a:xfrm>
          <a:prstGeom prst="rect">
            <a:avLst/>
          </a:prstGeom>
        </p:spPr>
      </p:pic>
      <p:sp>
        <p:nvSpPr>
          <p:cNvPr id="31" name="Text Box 2"/>
          <p:cNvSpPr txBox="1">
            <a:spLocks noChangeArrowheads="1"/>
          </p:cNvSpPr>
          <p:nvPr userDrawn="1"/>
        </p:nvSpPr>
        <p:spPr bwMode="auto">
          <a:xfrm>
            <a:off x="1017885" y="4777875"/>
            <a:ext cx="26342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Sæt den på igen ved at klikke på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p:txBody>
      </p:sp>
      <p:sp>
        <p:nvSpPr>
          <p:cNvPr id="34" name="Text Box 4"/>
          <p:cNvSpPr txBox="1">
            <a:spLocks noChangeArrowheads="1"/>
          </p:cNvSpPr>
          <p:nvPr userDrawn="1"/>
        </p:nvSpPr>
        <p:spPr bwMode="auto">
          <a:xfrm>
            <a:off x="9200052" y="1534013"/>
            <a:ext cx="2338133" cy="393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1200"/>
              </a:spcBef>
              <a:spcAft>
                <a:spcPts val="600"/>
              </a:spcAft>
              <a:buClrTx/>
              <a:buSzTx/>
              <a:buFont typeface="+mj-lt"/>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a:t>
            </a:r>
            <a:b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ato og sidefod</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le slides</a:t>
            </a:r>
            <a:endParaRPr kumimoji="0" 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tast evt. tekst i sidefod)</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12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se hjælpelinj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a:p>
            <a:pPr marL="0" marR="0" lvl="0" indent="0" algn="l" defTabSz="914126" rtl="0" eaLnBrk="1" fontAlgn="auto" latinLnBrk="0" hangingPunct="1">
              <a:lnSpc>
                <a:spcPct val="100000"/>
              </a:lnSpc>
              <a:spcBef>
                <a:spcPts val="0"/>
              </a:spcBef>
              <a:spcAft>
                <a:spcPts val="600"/>
              </a:spcAft>
              <a:buClrTx/>
              <a:buSzTx/>
              <a:buFontTx/>
              <a:buNone/>
              <a:tabLst/>
              <a:defRPr/>
            </a:pP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 Box 3"/>
          <p:cNvSpPr txBox="1">
            <a:spLocks noChangeArrowheads="1"/>
          </p:cNvSpPr>
          <p:nvPr userDrawn="1"/>
        </p:nvSpPr>
        <p:spPr bwMode="auto">
          <a:xfrm>
            <a:off x="5309364" y="3867009"/>
            <a:ext cx="2881064"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12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s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ol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u trækker i billedets hjørn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r et nyt, kan billedet lægg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g foran tekst og grafik. Hvis dette sker, højreklik på billed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2" name="2 Ny slide"/>
          <p:cNvPicPr>
            <a:picLocks noChangeAspect="1"/>
          </p:cNvPicPr>
          <p:nvPr userDrawn="1"/>
        </p:nvPicPr>
        <p:blipFill rotWithShape="1">
          <a:blip r:embed="rId5"/>
          <a:srcRect l="2931" r="60888"/>
          <a:stretch/>
        </p:blipFill>
        <p:spPr>
          <a:xfrm>
            <a:off x="7860323" y="2220843"/>
            <a:ext cx="430893" cy="575288"/>
          </a:xfrm>
          <a:prstGeom prst="rect">
            <a:avLst/>
          </a:prstGeom>
        </p:spPr>
      </p:pic>
      <p:sp>
        <p:nvSpPr>
          <p:cNvPr id="9" name="Fast overskrift"/>
          <p:cNvSpPr txBox="1"/>
          <p:nvPr userDrawn="1"/>
        </p:nvSpPr>
        <p:spPr>
          <a:xfrm>
            <a:off x="1007534" y="537449"/>
            <a:ext cx="10641540" cy="650171"/>
          </a:xfrm>
          <a:prstGeom prst="rect">
            <a:avLst/>
          </a:prstGeom>
          <a:noFill/>
        </p:spPr>
        <p:txBody>
          <a:bodyPr wrap="square" lIns="0" tIns="0" rIns="0" bIns="0" rtlCol="0" anchor="b" anchorCtr="0">
            <a:noAutofit/>
          </a:bodyPr>
          <a:lstStyle/>
          <a:p>
            <a:r>
              <a:rPr lang="da-DK" sz="2799" b="0" noProof="1">
                <a:solidFill>
                  <a:schemeClr val="tx1"/>
                </a:solidFill>
                <a:latin typeface="Arial" panose="020B0604020202020204" pitchFamily="34" charset="0"/>
                <a:cs typeface="Arial" panose="020B0604020202020204" pitchFamily="34" charset="0"/>
              </a:rPr>
              <a:t>Brugerguide - Slet før anvendelse</a:t>
            </a:r>
          </a:p>
        </p:txBody>
      </p:sp>
      <p:pic>
        <p:nvPicPr>
          <p:cNvPr id="19" name="3 Layout"/>
          <p:cNvPicPr>
            <a:picLocks noChangeAspect="1"/>
          </p:cNvPicPr>
          <p:nvPr userDrawn="1"/>
        </p:nvPicPr>
        <p:blipFill rotWithShape="1">
          <a:blip r:embed="rId5"/>
          <a:srcRect l="36944" r="2272" b="69429"/>
          <a:stretch/>
        </p:blipFill>
        <p:spPr>
          <a:xfrm>
            <a:off x="7938241" y="2978212"/>
            <a:ext cx="791157" cy="192211"/>
          </a:xfrm>
          <a:prstGeom prst="rect">
            <a:avLst/>
          </a:prstGeom>
        </p:spPr>
      </p:pic>
      <p:pic>
        <p:nvPicPr>
          <p:cNvPr id="26" name="5 Insert picture"/>
          <p:cNvPicPr>
            <a:picLocks noChangeAspect="1"/>
          </p:cNvPicPr>
          <p:nvPr userDrawn="1"/>
        </p:nvPicPr>
        <p:blipFill>
          <a:blip r:embed="rId6"/>
          <a:stretch>
            <a:fillRect/>
          </a:stretch>
        </p:blipFill>
        <p:spPr>
          <a:xfrm>
            <a:off x="7909778" y="4060101"/>
            <a:ext cx="349535" cy="256054"/>
          </a:xfrm>
          <a:prstGeom prst="rect">
            <a:avLst/>
          </a:prstGeom>
        </p:spPr>
      </p:pic>
      <p:pic>
        <p:nvPicPr>
          <p:cNvPr id="27" name="6 Crop"/>
          <p:cNvPicPr>
            <a:picLocks noChangeAspect="1"/>
          </p:cNvPicPr>
          <p:nvPr userDrawn="1"/>
        </p:nvPicPr>
        <p:blipFill>
          <a:blip r:embed="rId7"/>
          <a:stretch>
            <a:fillRect/>
          </a:stretch>
        </p:blipFill>
        <p:spPr>
          <a:xfrm>
            <a:off x="7883952" y="4690105"/>
            <a:ext cx="449867" cy="321707"/>
          </a:xfrm>
          <a:prstGeom prst="rect">
            <a:avLst/>
          </a:prstGeom>
        </p:spPr>
      </p:pic>
      <p:pic>
        <p:nvPicPr>
          <p:cNvPr id="30" name="7 Scale picture"/>
          <p:cNvPicPr>
            <a:picLocks noChangeAspect="1"/>
          </p:cNvPicPr>
          <p:nvPr userDrawn="1"/>
        </p:nvPicPr>
        <p:blipFill>
          <a:blip r:embed="rId8"/>
          <a:stretch>
            <a:fillRect/>
          </a:stretch>
        </p:blipFill>
        <p:spPr>
          <a:xfrm>
            <a:off x="7854226" y="5042810"/>
            <a:ext cx="479593" cy="335309"/>
          </a:xfrm>
          <a:prstGeom prst="rect">
            <a:avLst/>
          </a:prstGeom>
        </p:spPr>
      </p:pic>
      <p:pic>
        <p:nvPicPr>
          <p:cNvPr id="18" name="1 Increase decrease"/>
          <p:cNvPicPr>
            <a:picLocks noChangeAspect="1"/>
          </p:cNvPicPr>
          <p:nvPr userDrawn="1"/>
        </p:nvPicPr>
        <p:blipFill>
          <a:blip r:embed="rId9"/>
          <a:stretch>
            <a:fillRect/>
          </a:stretch>
        </p:blipFill>
        <p:spPr>
          <a:xfrm>
            <a:off x="7718325" y="1451093"/>
            <a:ext cx="732437" cy="285228"/>
          </a:xfrm>
          <a:prstGeom prst="rect">
            <a:avLst/>
          </a:prstGeom>
        </p:spPr>
      </p:pic>
      <p:pic>
        <p:nvPicPr>
          <p:cNvPr id="2" name="Billede 1">
            <a:extLst>
              <a:ext uri="{FF2B5EF4-FFF2-40B4-BE49-F238E27FC236}">
                <a16:creationId xmlns:a16="http://schemas.microsoft.com/office/drawing/2014/main" id="{17A05245-804A-4B20-8BB9-31D66D06C1F2}"/>
              </a:ext>
            </a:extLst>
          </p:cNvPr>
          <p:cNvPicPr>
            <a:picLocks noChangeAspect="1"/>
          </p:cNvPicPr>
          <p:nvPr userDrawn="1"/>
        </p:nvPicPr>
        <p:blipFill>
          <a:blip r:embed="rId10"/>
          <a:stretch>
            <a:fillRect/>
          </a:stretch>
        </p:blipFill>
        <p:spPr>
          <a:xfrm>
            <a:off x="3567331" y="5920445"/>
            <a:ext cx="430893" cy="234298"/>
          </a:xfrm>
          <a:prstGeom prst="rect">
            <a:avLst/>
          </a:prstGeom>
        </p:spPr>
      </p:pic>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fld id="{A560CFC3-E3FC-4FB2-9053-F1C5CC16ACA0}" type="datetime2">
              <a:rPr lang="da-DK" smtClean="0"/>
              <a:t>4. februar 2025</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1003301" y="1535094"/>
            <a:ext cx="2870761"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rveskema</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ellem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1 – FMN (default)</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2 – FSV</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3 – Afdæmpede farver</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logo på hvert slid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logo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billede. </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det rigtige logo.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Kopier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C) det nye indsatte logo, klik på det gamle logo på et slide af gangen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V)</a:t>
            </a:r>
          </a:p>
          <a:p>
            <a:pPr marL="0" marR="0" lvl="0" indent="0" algn="l" defTabSz="914126"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farve på lodret streg i footer</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stregen og vælg ny farve under linjefarve</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126" rtl="0" eaLnBrk="1" fontAlgn="auto" latinLnBrk="0" hangingPunct="1">
              <a:lnSpc>
                <a:spcPct val="100000"/>
              </a:lnSpc>
              <a:spcBef>
                <a:spcPts val="0"/>
              </a:spcBef>
              <a:spcAft>
                <a:spcPts val="600"/>
              </a:spcAft>
              <a:buClrTx/>
              <a:buSzTx/>
              <a:buFontTx/>
              <a:buNone/>
              <a:tabLst/>
              <a:defRPr/>
            </a:pPr>
            <a:endPar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 Box 2"/>
          <p:cNvSpPr txBox="1">
            <a:spLocks noChangeArrowheads="1"/>
          </p:cNvSpPr>
          <p:nvPr userDrawn="1"/>
        </p:nvSpPr>
        <p:spPr bwMode="auto">
          <a:xfrm>
            <a:off x="5309364" y="2014800"/>
            <a:ext cx="2634200" cy="158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120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Sli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p:txBody>
      </p:sp>
      <p:sp>
        <p:nvSpPr>
          <p:cNvPr id="24" name="Text Box 2"/>
          <p:cNvSpPr txBox="1">
            <a:spLocks noChangeArrowheads="1"/>
          </p:cNvSpPr>
          <p:nvPr userDrawn="1"/>
        </p:nvSpPr>
        <p:spPr bwMode="auto">
          <a:xfrm>
            <a:off x="5304040" y="1540675"/>
            <a:ext cx="26342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listeniveau bruges</a:t>
            </a:r>
          </a:p>
        </p:txBody>
      </p:sp>
      <p:cxnSp>
        <p:nvCxnSpPr>
          <p:cNvPr id="5" name="Straight Connector 4"/>
          <p:cNvCxnSpPr/>
          <p:nvPr userDrawn="1"/>
        </p:nvCxnSpPr>
        <p:spPr>
          <a:xfrm>
            <a:off x="656494" y="1535093"/>
            <a:ext cx="132102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0831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0612CFF6-5028-44F6-976B-BC2633367D5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F12A8DD0-75A4-4B0E-844E-019FDF4F0D9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B6D74E47-60F1-43B5-9AD9-7694C305353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D8B4CAC5-CA9A-4E04-88EE-1A57ACD12B6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C9415BA-2B16-481B-BEDD-523C8C3D0131}"/>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1DC2F2F2-6981-4BBA-BD92-550491AA8F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BC2138B7-E8A4-495D-B720-02796C51E0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4524041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jenestebrug">
            <a:extLst>
              <a:ext uri="{FF2B5EF4-FFF2-40B4-BE49-F238E27FC236}">
                <a16:creationId xmlns:a16="http://schemas.microsoft.com/office/drawing/2014/main" id="{A1F4BCCB-8425-4187-B38B-F5FB12BB3DF7}"/>
              </a:ext>
            </a:extLst>
          </p:cNvPr>
          <p:cNvSpPr>
            <a:spLocks noGrp="1"/>
          </p:cNvSpPr>
          <p:nvPr>
            <p:ph type="body" sz="quarter" idx="16" hasCustomPrompt="1"/>
          </p:nvPr>
        </p:nvSpPr>
        <p:spPr>
          <a:xfrm>
            <a:off x="4173067" y="84259"/>
            <a:ext cx="3845867" cy="175318"/>
          </a:xfrm>
        </p:spPr>
        <p:txBody>
          <a:bodyPr anchor="b" anchorCtr="0"/>
          <a:lstStyle>
            <a:lvl1pPr marL="0" indent="0" algn="ctr">
              <a:lnSpc>
                <a:spcPct val="100000"/>
              </a:lnSpc>
              <a:spcBef>
                <a:spcPts val="0"/>
              </a:spcBef>
              <a:buNone/>
              <a:defRPr sz="1000" cap="all" baseline="0"/>
            </a:lvl1pPr>
            <a:lvl2pPr marL="288005" indent="0">
              <a:buNone/>
              <a:defRPr sz="1000"/>
            </a:lvl2pPr>
            <a:lvl3pPr marL="576010" indent="0">
              <a:buNone/>
              <a:defRPr sz="1000"/>
            </a:lvl3pPr>
            <a:lvl4pPr marL="576010" indent="0">
              <a:buNone/>
              <a:defRPr sz="1000"/>
            </a:lvl4pPr>
            <a:lvl5pPr marL="576010" indent="0">
              <a:buNone/>
              <a:defRPr sz="1000"/>
            </a:lvl5pPr>
          </a:lstStyle>
          <a:p>
            <a:pPr lvl="0"/>
            <a:r>
              <a:rPr lang="da-DK" noProof="0" dirty="0"/>
              <a:t>Klik for at tilføje tekst</a:t>
            </a:r>
          </a:p>
        </p:txBody>
      </p:sp>
      <p:sp>
        <p:nvSpPr>
          <p:cNvPr id="17" name="Afklassificeret">
            <a:extLst>
              <a:ext uri="{FF2B5EF4-FFF2-40B4-BE49-F238E27FC236}">
                <a16:creationId xmlns:a16="http://schemas.microsoft.com/office/drawing/2014/main" id="{668C5E08-B22C-4803-998F-D2ED2723536C}"/>
              </a:ext>
            </a:extLst>
          </p:cNvPr>
          <p:cNvSpPr>
            <a:spLocks noGrp="1"/>
          </p:cNvSpPr>
          <p:nvPr>
            <p:ph type="body" sz="quarter" idx="17" hasCustomPrompt="1"/>
          </p:nvPr>
        </p:nvSpPr>
        <p:spPr>
          <a:xfrm>
            <a:off x="4173070" y="248313"/>
            <a:ext cx="3845866" cy="126892"/>
          </a:xfrm>
        </p:spPr>
        <p:txBody>
          <a:bodyPr anchor="ctr" anchorCtr="0"/>
          <a:lstStyle>
            <a:lvl1pPr marL="0" indent="0" algn="ctr">
              <a:lnSpc>
                <a:spcPct val="100000"/>
              </a:lnSpc>
              <a:spcBef>
                <a:spcPts val="0"/>
              </a:spcBef>
              <a:buNone/>
              <a:defRPr sz="700" cap="all" baseline="0"/>
            </a:lvl1pPr>
            <a:lvl2pPr marL="288005" indent="0" algn="ctr">
              <a:buNone/>
              <a:defRPr sz="700"/>
            </a:lvl2pPr>
            <a:lvl3pPr marL="576010" indent="0" algn="ctr">
              <a:buNone/>
              <a:defRPr sz="700"/>
            </a:lvl3pPr>
            <a:lvl4pPr marL="576010" indent="0" algn="ctr">
              <a:buNone/>
              <a:defRPr sz="700"/>
            </a:lvl4pPr>
            <a:lvl5pPr marL="576010" indent="0" algn="ctr">
              <a:buNone/>
              <a:defRPr sz="700"/>
            </a:lvl5pPr>
          </a:lstStyle>
          <a:p>
            <a:pPr lvl="0"/>
            <a:r>
              <a:rPr lang="da-DK" noProof="0" dirty="0"/>
              <a:t>Klik for at tilføje tekst</a:t>
            </a:r>
          </a:p>
        </p:txBody>
      </p:sp>
      <p:sp>
        <p:nvSpPr>
          <p:cNvPr id="18" name="Brug">
            <a:extLst>
              <a:ext uri="{FF2B5EF4-FFF2-40B4-BE49-F238E27FC236}">
                <a16:creationId xmlns:a16="http://schemas.microsoft.com/office/drawing/2014/main" id="{43D958F2-C091-4987-AC25-255C48900783}"/>
              </a:ext>
            </a:extLst>
          </p:cNvPr>
          <p:cNvSpPr>
            <a:spLocks noGrp="1"/>
          </p:cNvSpPr>
          <p:nvPr>
            <p:ph type="body" sz="quarter" idx="18" hasCustomPrompt="1"/>
          </p:nvPr>
        </p:nvSpPr>
        <p:spPr>
          <a:xfrm>
            <a:off x="4173069" y="360921"/>
            <a:ext cx="3845866" cy="176400"/>
          </a:xfrm>
        </p:spPr>
        <p:txBody>
          <a:bodyPr/>
          <a:lstStyle>
            <a:lvl1pPr marL="0" indent="0" algn="ctr">
              <a:lnSpc>
                <a:spcPct val="100000"/>
              </a:lnSpc>
              <a:spcBef>
                <a:spcPts val="0"/>
              </a:spcBef>
              <a:buNone/>
              <a:defRPr sz="1000" cap="all" baseline="0"/>
            </a:lvl1pPr>
            <a:lvl2pPr marL="288005" indent="0">
              <a:buNone/>
              <a:defRPr sz="1000" cap="all" baseline="0"/>
            </a:lvl2pPr>
            <a:lvl3pPr marL="576010" indent="0">
              <a:buNone/>
              <a:defRPr sz="1000" cap="all" baseline="0"/>
            </a:lvl3pPr>
            <a:lvl4pPr marL="576010" indent="0">
              <a:buNone/>
              <a:defRPr sz="1000" cap="all" baseline="0"/>
            </a:lvl4pPr>
            <a:lvl5pPr marL="576010" indent="0">
              <a:buNone/>
              <a:defRPr sz="1000" cap="all" baseline="0"/>
            </a:lvl5pPr>
          </a:lstStyle>
          <a:p>
            <a:pPr lvl="0"/>
            <a:r>
              <a:rPr lang="da-DK" noProof="0" dirty="0"/>
              <a:t>Klik for at tilføje tekst</a:t>
            </a:r>
          </a:p>
        </p:txBody>
      </p:sp>
      <p:sp>
        <p:nvSpPr>
          <p:cNvPr id="19" name="Tjenestebrug">
            <a:extLst>
              <a:ext uri="{FF2B5EF4-FFF2-40B4-BE49-F238E27FC236}">
                <a16:creationId xmlns:a16="http://schemas.microsoft.com/office/drawing/2014/main" id="{7778223E-CCE7-477B-A2BC-00E771E85B41}"/>
              </a:ext>
            </a:extLst>
          </p:cNvPr>
          <p:cNvSpPr>
            <a:spLocks noGrp="1"/>
          </p:cNvSpPr>
          <p:nvPr>
            <p:ph type="body" sz="quarter" idx="19" hasCustomPrompt="1"/>
          </p:nvPr>
        </p:nvSpPr>
        <p:spPr>
          <a:xfrm>
            <a:off x="4173067" y="6276703"/>
            <a:ext cx="3845867" cy="175318"/>
          </a:xfrm>
        </p:spPr>
        <p:txBody>
          <a:bodyPr anchor="b" anchorCtr="0"/>
          <a:lstStyle>
            <a:lvl1pPr marL="0" indent="0" algn="ctr">
              <a:lnSpc>
                <a:spcPct val="100000"/>
              </a:lnSpc>
              <a:spcBef>
                <a:spcPts val="0"/>
              </a:spcBef>
              <a:buNone/>
              <a:defRPr sz="1000" cap="all" baseline="0"/>
            </a:lvl1pPr>
            <a:lvl2pPr marL="288005" indent="0">
              <a:buNone/>
              <a:defRPr sz="1000"/>
            </a:lvl2pPr>
            <a:lvl3pPr marL="576010" indent="0">
              <a:buNone/>
              <a:defRPr sz="1000"/>
            </a:lvl3pPr>
            <a:lvl4pPr marL="576010" indent="0">
              <a:buNone/>
              <a:defRPr sz="1000"/>
            </a:lvl4pPr>
            <a:lvl5pPr marL="576010"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E84D8BDE-F5D0-43DA-A04A-AB72CD2F1DD1}"/>
              </a:ext>
            </a:extLst>
          </p:cNvPr>
          <p:cNvSpPr>
            <a:spLocks noGrp="1"/>
          </p:cNvSpPr>
          <p:nvPr>
            <p:ph type="body" sz="quarter" idx="20" hasCustomPrompt="1"/>
          </p:nvPr>
        </p:nvSpPr>
        <p:spPr>
          <a:xfrm>
            <a:off x="4173069" y="6434462"/>
            <a:ext cx="3845866" cy="126892"/>
          </a:xfrm>
        </p:spPr>
        <p:txBody>
          <a:bodyPr anchor="ctr" anchorCtr="0"/>
          <a:lstStyle>
            <a:lvl1pPr marL="0" indent="0" algn="ctr">
              <a:lnSpc>
                <a:spcPct val="100000"/>
              </a:lnSpc>
              <a:spcBef>
                <a:spcPts val="0"/>
              </a:spcBef>
              <a:buNone/>
              <a:defRPr sz="700" cap="all" baseline="0"/>
            </a:lvl1pPr>
            <a:lvl2pPr marL="288005" indent="0" algn="ctr">
              <a:buNone/>
              <a:defRPr sz="700"/>
            </a:lvl2pPr>
            <a:lvl3pPr marL="576010" indent="0" algn="ctr">
              <a:buNone/>
              <a:defRPr sz="700"/>
            </a:lvl3pPr>
            <a:lvl4pPr marL="576010" indent="0" algn="ctr">
              <a:buNone/>
              <a:defRPr sz="700"/>
            </a:lvl4pPr>
            <a:lvl5pPr marL="576010" indent="0" algn="ctr">
              <a:buNone/>
              <a:defRPr sz="700"/>
            </a:lvl5pPr>
          </a:lstStyle>
          <a:p>
            <a:pPr lvl="0"/>
            <a:r>
              <a:rPr lang="da-DK" noProof="0" dirty="0"/>
              <a:t>Klik for at tilføje tekst</a:t>
            </a:r>
          </a:p>
        </p:txBody>
      </p:sp>
      <p:sp>
        <p:nvSpPr>
          <p:cNvPr id="21" name="Brug">
            <a:extLst>
              <a:ext uri="{FF2B5EF4-FFF2-40B4-BE49-F238E27FC236}">
                <a16:creationId xmlns:a16="http://schemas.microsoft.com/office/drawing/2014/main" id="{CB77CEAB-DCE5-4464-A4F0-3D32D76EF3BB}"/>
              </a:ext>
            </a:extLst>
          </p:cNvPr>
          <p:cNvSpPr>
            <a:spLocks noGrp="1"/>
          </p:cNvSpPr>
          <p:nvPr>
            <p:ph type="body" sz="quarter" idx="21" hasCustomPrompt="1"/>
          </p:nvPr>
        </p:nvSpPr>
        <p:spPr>
          <a:xfrm>
            <a:off x="4173065" y="6546062"/>
            <a:ext cx="3845866" cy="176400"/>
          </a:xfrm>
        </p:spPr>
        <p:txBody>
          <a:bodyPr/>
          <a:lstStyle>
            <a:lvl1pPr marL="0" indent="0" algn="ctr">
              <a:lnSpc>
                <a:spcPct val="100000"/>
              </a:lnSpc>
              <a:spcBef>
                <a:spcPts val="0"/>
              </a:spcBef>
              <a:buNone/>
              <a:defRPr sz="1000" cap="all" baseline="0"/>
            </a:lvl1pPr>
            <a:lvl2pPr marL="288005" indent="0">
              <a:buNone/>
              <a:defRPr sz="1000" cap="all" baseline="0"/>
            </a:lvl2pPr>
            <a:lvl3pPr marL="576010" indent="0">
              <a:buNone/>
              <a:defRPr sz="1000" cap="all" baseline="0"/>
            </a:lvl3pPr>
            <a:lvl4pPr marL="576010" indent="0">
              <a:buNone/>
              <a:defRPr sz="1000" cap="all" baseline="0"/>
            </a:lvl4pPr>
            <a:lvl5pPr marL="576010" indent="0">
              <a:buNone/>
              <a:defRPr sz="1000" cap="all" baseline="0"/>
            </a:lvl5pPr>
          </a:lstStyle>
          <a:p>
            <a:pPr lvl="0"/>
            <a:r>
              <a:rPr lang="da-DK" noProof="0" dirty="0"/>
              <a:t>Klik for at tilføje tekst</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4. februar 2025</a:t>
            </a:fld>
            <a:endParaRPr lang="en-GB"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pic>
        <p:nvPicPr>
          <p:cNvPr id="24" name="Picture 3" descr="T:\1\FAK-CLO\Nyt OFU-drev\HOLD 2018-2019\Lærermappe\LÆ LOG\Diverse\Designmanual\VFK-logopakke\VFK-logopakke\Forsvaret-DK\OFFICE AND WEB\FSV_Roed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83806" y="184531"/>
            <a:ext cx="1526889" cy="554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04060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5110301B-3B31-4B56-9E1F-832A10663A8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2" name="Title 1"/>
          <p:cNvSpPr>
            <a:spLocks noGrp="1"/>
          </p:cNvSpPr>
          <p:nvPr>
            <p:ph type="ctrTitle" hasCustomPrompt="1"/>
          </p:nvPr>
        </p:nvSpPr>
        <p:spPr>
          <a:xfrm>
            <a:off x="784490" y="3701880"/>
            <a:ext cx="5294103" cy="1161600"/>
          </a:xfrm>
        </p:spPr>
        <p:txBody>
          <a:bodyPr wrap="square" anchor="b">
            <a:sp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801897" y="4983982"/>
            <a:ext cx="3686400" cy="914401"/>
          </a:xfrm>
        </p:spPr>
        <p:txBody>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E558046F-5E7B-4A71-AFB2-11F01DC984B5}"/>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8235989-6762-4643-ADA7-7005D9423B90}"/>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1A8DB971-E5E2-4E82-A12E-139EED6B92EF}"/>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07AA1EBD-B06C-423F-B538-CB805F73589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D4464FB6-1490-4B85-BBB8-63428B1B327C}"/>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F800B52-2A35-4FFC-9C8B-76F363266A6C}"/>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r>
              <a:rPr lang="da-DK" dirty="0"/>
              <a:t>CH HKO orientering ved NMI 3 APR 22</a:t>
            </a: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30911817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rside standard">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39FF860F-A545-4DC6-BF34-8D4703B61D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88039" y="291244"/>
            <a:ext cx="3616428" cy="571115"/>
          </a:xfrm>
          <a:prstGeom prst="rect">
            <a:avLst/>
          </a:prstGeom>
        </p:spPr>
      </p:pic>
      <p:sp>
        <p:nvSpPr>
          <p:cNvPr id="34" name="Title 1">
            <a:extLst>
              <a:ext uri="{FF2B5EF4-FFF2-40B4-BE49-F238E27FC236}">
                <a16:creationId xmlns:a16="http://schemas.microsoft.com/office/drawing/2014/main" id="{0812D445-A3BB-41A6-8723-FBF3DCA62DD4}"/>
              </a:ext>
            </a:extLst>
          </p:cNvPr>
          <p:cNvSpPr>
            <a:spLocks noGrp="1"/>
          </p:cNvSpPr>
          <p:nvPr>
            <p:ph type="ctrTitle" hasCustomPrompt="1"/>
          </p:nvPr>
        </p:nvSpPr>
        <p:spPr>
          <a:xfrm>
            <a:off x="792370" y="1928817"/>
            <a:ext cx="10597735"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5" name="Subtitle 2">
            <a:extLst>
              <a:ext uri="{FF2B5EF4-FFF2-40B4-BE49-F238E27FC236}">
                <a16:creationId xmlns:a16="http://schemas.microsoft.com/office/drawing/2014/main" id="{B1EC6D4C-9588-4B18-B874-742CB11F4CE2}"/>
              </a:ext>
            </a:extLst>
          </p:cNvPr>
          <p:cNvSpPr>
            <a:spLocks noGrp="1"/>
          </p:cNvSpPr>
          <p:nvPr>
            <p:ph type="subTitle" idx="1" hasCustomPrompt="1"/>
          </p:nvPr>
        </p:nvSpPr>
        <p:spPr>
          <a:xfrm>
            <a:off x="827556" y="4001782"/>
            <a:ext cx="6501728"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6" name="Text Placeholder 28">
            <a:extLst>
              <a:ext uri="{FF2B5EF4-FFF2-40B4-BE49-F238E27FC236}">
                <a16:creationId xmlns:a16="http://schemas.microsoft.com/office/drawing/2014/main" id="{4BD3AA7C-8B55-44CA-8D08-186F00A7103D}"/>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7" name="Text Placeholder 30">
            <a:extLst>
              <a:ext uri="{FF2B5EF4-FFF2-40B4-BE49-F238E27FC236}">
                <a16:creationId xmlns:a16="http://schemas.microsoft.com/office/drawing/2014/main" id="{EDABA1A0-E959-4CA9-BAE8-C690EC7FFB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8" name="Text Placeholder 32">
            <a:extLst>
              <a:ext uri="{FF2B5EF4-FFF2-40B4-BE49-F238E27FC236}">
                <a16:creationId xmlns:a16="http://schemas.microsoft.com/office/drawing/2014/main" id="{0ABD11A8-EF76-4789-85FF-FEBBDF1E0663}"/>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8123508D-BC89-4677-B65F-929D9A828E8F}"/>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15DD55F3-CBAD-4620-86CE-92FB3BC996AB}"/>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0803B857-39A5-4FEE-B366-F7C954DFCE94}"/>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r>
              <a:rPr lang="da-DK" dirty="0"/>
              <a:t>CH HKO orientering ved NMI 3 APR 22</a:t>
            </a:r>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26" name="Bottom box">
            <a:extLst>
              <a:ext uri="{FF2B5EF4-FFF2-40B4-BE49-F238E27FC236}">
                <a16:creationId xmlns:a16="http://schemas.microsoft.com/office/drawing/2014/main" id="{40660ECB-6CD1-4243-B56E-048C5FD7D094}"/>
              </a:ext>
            </a:extLst>
          </p:cNvPr>
          <p:cNvSpPr txBox="1">
            <a:spLocks/>
          </p:cNvSpPr>
          <p:nvPr userDrawn="1"/>
        </p:nvSpPr>
        <p:spPr>
          <a:xfrm>
            <a:off x="801897" y="5960100"/>
            <a:ext cx="10588207" cy="75600"/>
          </a:xfrm>
          <a:prstGeom prst="rect">
            <a:avLst/>
          </a:prstGeom>
          <a:solidFill>
            <a:srgbClr val="597E50"/>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3109028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pic>
        <p:nvPicPr>
          <p:cNvPr id="18" name="Billed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2940" y="130695"/>
            <a:ext cx="1385441" cy="409872"/>
          </a:xfrm>
          <a:prstGeom prst="rect">
            <a:avLst/>
          </a:prstGeom>
        </p:spPr>
      </p:pic>
      <p:sp>
        <p:nvSpPr>
          <p:cNvPr id="8" name="Background">
            <a:extLst>
              <a:ext uri="{FF2B5EF4-FFF2-40B4-BE49-F238E27FC236}">
                <a16:creationId xmlns:a16="http://schemas.microsoft.com/office/drawing/2014/main" id="{DFD13AEA-AC92-460F-AA1C-72BBDE0C595F}"/>
              </a:ext>
            </a:extLst>
          </p:cNvPr>
          <p:cNvSpPr/>
          <p:nvPr userDrawn="1"/>
        </p:nvSpPr>
        <p:spPr>
          <a:xfrm>
            <a:off x="0" y="1678678"/>
            <a:ext cx="121932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1007539" y="1150633"/>
            <a:ext cx="10706097" cy="528045"/>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1007539" y="1873771"/>
            <a:ext cx="10706097" cy="3960972"/>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1007539" y="5459507"/>
            <a:ext cx="10706097" cy="375236"/>
          </a:xfrm>
        </p:spPr>
        <p:txBody>
          <a:bodyPr anchor="b" anchorCtr="0"/>
          <a:lstStyle>
            <a:lvl1pPr marL="108000" indent="-108000">
              <a:lnSpc>
                <a:spcPct val="114000"/>
              </a:lnSpc>
              <a:spcBef>
                <a:spcPts val="0"/>
              </a:spcBef>
              <a:buFont typeface="Verdana" panose="020B0604030504040204" pitchFamily="34" charset="0"/>
              <a:buChar char="*"/>
              <a:defRPr sz="900"/>
            </a:lvl1pPr>
            <a:lvl2pPr marL="108000" indent="-108000">
              <a:lnSpc>
                <a:spcPct val="114000"/>
              </a:lnSpc>
              <a:spcBef>
                <a:spcPts val="0"/>
              </a:spcBef>
              <a:buFont typeface="Verdana" panose="020B0604030504040204" pitchFamily="34" charset="0"/>
              <a:buChar char="*"/>
              <a:defRPr sz="900"/>
            </a:lvl2pPr>
            <a:lvl3pPr marL="108000" indent="-108000">
              <a:lnSpc>
                <a:spcPct val="114000"/>
              </a:lnSpc>
              <a:spcBef>
                <a:spcPts val="0"/>
              </a:spcBef>
              <a:buFont typeface="Verdana" panose="020B0604030504040204" pitchFamily="34" charset="0"/>
              <a:buChar char="*"/>
              <a:defRPr sz="900"/>
            </a:lvl3pPr>
            <a:lvl4pPr marL="108000" indent="-108000">
              <a:lnSpc>
                <a:spcPct val="114000"/>
              </a:lnSpc>
              <a:spcBef>
                <a:spcPts val="0"/>
              </a:spcBef>
              <a:buFont typeface="Verdana" panose="020B0604030504040204" pitchFamily="34" charset="0"/>
              <a:buChar char="*"/>
              <a:defRPr sz="900"/>
            </a:lvl4pPr>
            <a:lvl5pPr marL="108000" indent="-108000">
              <a:lnSpc>
                <a:spcPct val="114000"/>
              </a:lnSpc>
              <a:spcBef>
                <a:spcPts val="0"/>
              </a:spcBef>
              <a:buFont typeface="Verdana" panose="020B0604030504040204" pitchFamily="34" charset="0"/>
              <a:buChar char="*"/>
              <a:defRPr sz="900"/>
            </a:lvl5pPr>
          </a:lstStyle>
          <a:p>
            <a:pPr lvl="0"/>
            <a:r>
              <a:rPr lang="da-DK"/>
              <a:t>Klik for at tilføje notes tekst</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1" name="Tjenestebrug">
            <a:extLst>
              <a:ext uri="{FF2B5EF4-FFF2-40B4-BE49-F238E27FC236}">
                <a16:creationId xmlns:a16="http://schemas.microsoft.com/office/drawing/2014/main" id="{ACDFB918-ACD5-48C8-BAAB-73699F994EC6}"/>
              </a:ext>
            </a:extLst>
          </p:cNvPr>
          <p:cNvSpPr>
            <a:spLocks noGrp="1"/>
          </p:cNvSpPr>
          <p:nvPr>
            <p:ph type="body" sz="quarter" idx="17" hasCustomPrompt="1"/>
          </p:nvPr>
        </p:nvSpPr>
        <p:spPr>
          <a:xfrm>
            <a:off x="4173067" y="113154"/>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2" name="Afklassificeret">
            <a:extLst>
              <a:ext uri="{FF2B5EF4-FFF2-40B4-BE49-F238E27FC236}">
                <a16:creationId xmlns:a16="http://schemas.microsoft.com/office/drawing/2014/main" id="{82546EAD-BB49-4BE4-8333-7E33370C9CC1}"/>
              </a:ext>
            </a:extLst>
          </p:cNvPr>
          <p:cNvSpPr>
            <a:spLocks noGrp="1"/>
          </p:cNvSpPr>
          <p:nvPr>
            <p:ph type="body" sz="quarter" idx="18" hasCustomPrompt="1"/>
          </p:nvPr>
        </p:nvSpPr>
        <p:spPr>
          <a:xfrm>
            <a:off x="4173085" y="277203"/>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4" name="Tjenestebrug">
            <a:extLst>
              <a:ext uri="{FF2B5EF4-FFF2-40B4-BE49-F238E27FC236}">
                <a16:creationId xmlns:a16="http://schemas.microsoft.com/office/drawing/2014/main" id="{7F5EC99F-D4DF-44AC-858F-308A012640E7}"/>
              </a:ext>
            </a:extLst>
          </p:cNvPr>
          <p:cNvSpPr>
            <a:spLocks noGrp="1"/>
          </p:cNvSpPr>
          <p:nvPr>
            <p:ph type="body" sz="quarter" idx="20" hasCustomPrompt="1"/>
          </p:nvPr>
        </p:nvSpPr>
        <p:spPr>
          <a:xfrm>
            <a:off x="4173065" y="6475596"/>
            <a:ext cx="3845867" cy="175319"/>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5" name="Afklassificeret">
            <a:extLst>
              <a:ext uri="{FF2B5EF4-FFF2-40B4-BE49-F238E27FC236}">
                <a16:creationId xmlns:a16="http://schemas.microsoft.com/office/drawing/2014/main" id="{4329F203-7290-4A7B-8633-B8BD9F52936E}"/>
              </a:ext>
            </a:extLst>
          </p:cNvPr>
          <p:cNvSpPr>
            <a:spLocks noGrp="1"/>
          </p:cNvSpPr>
          <p:nvPr>
            <p:ph type="body" sz="quarter" idx="21" hasCustomPrompt="1"/>
          </p:nvPr>
        </p:nvSpPr>
        <p:spPr>
          <a:xfrm>
            <a:off x="4173084" y="6633347"/>
            <a:ext cx="3845865"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6" name="Pladsholder til dato 14"/>
          <p:cNvSpPr>
            <a:spLocks noGrp="1"/>
          </p:cNvSpPr>
          <p:nvPr>
            <p:ph type="dt" sz="half" idx="22"/>
          </p:nvPr>
        </p:nvSpPr>
        <p:spPr>
          <a:xfrm>
            <a:off x="8226827" y="6571531"/>
            <a:ext cx="2988644" cy="108000"/>
          </a:xfrm>
        </p:spPr>
        <p:txBody>
          <a:body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27" name="Pladsholder til sidefod 15"/>
          <p:cNvSpPr>
            <a:spLocks noGrp="1"/>
          </p:cNvSpPr>
          <p:nvPr>
            <p:ph type="ftr" sz="quarter" idx="23"/>
          </p:nvPr>
        </p:nvSpPr>
        <p:spPr>
          <a:xfrm>
            <a:off x="8226827" y="6420474"/>
            <a:ext cx="2988644" cy="146223"/>
          </a:xfrm>
        </p:spPr>
        <p:txBody>
          <a:bodyPr/>
          <a:lstStyle/>
          <a:p>
            <a:endParaRPr lang="en-GB" dirty="0">
              <a:solidFill>
                <a:prstClr val="black"/>
              </a:solidFill>
            </a:endParaRPr>
          </a:p>
        </p:txBody>
      </p:sp>
      <p:sp>
        <p:nvSpPr>
          <p:cNvPr id="28" name="Pladsholder til tekst 2"/>
          <p:cNvSpPr>
            <a:spLocks noGrp="1"/>
          </p:cNvSpPr>
          <p:nvPr>
            <p:ph type="body" sz="quarter" idx="25" hasCustomPrompt="1"/>
          </p:nvPr>
        </p:nvSpPr>
        <p:spPr>
          <a:xfrm>
            <a:off x="8226949" y="6278041"/>
            <a:ext cx="2989691" cy="122237"/>
          </a:xfrm>
        </p:spPr>
        <p:txBody>
          <a:bodyPr/>
          <a:lstStyle>
            <a:lvl1pPr marL="0" indent="0" algn="r">
              <a:buNone/>
              <a:defRPr sz="700" b="1" baseline="0"/>
            </a:lvl1pPr>
          </a:lstStyle>
          <a:p>
            <a:pPr lvl="0"/>
            <a:r>
              <a:rPr lang="da-DK" dirty="0"/>
              <a:t>Klik her for at tilføje titel </a:t>
            </a:r>
          </a:p>
        </p:txBody>
      </p:sp>
      <p:sp>
        <p:nvSpPr>
          <p:cNvPr id="29" name="Pladsholder til tekst 2"/>
          <p:cNvSpPr>
            <a:spLocks noGrp="1"/>
          </p:cNvSpPr>
          <p:nvPr>
            <p:ph type="body" sz="quarter" idx="26" hasCustomPrompt="1"/>
          </p:nvPr>
        </p:nvSpPr>
        <p:spPr>
          <a:xfrm>
            <a:off x="8239319" y="6684881"/>
            <a:ext cx="2989691" cy="122237"/>
          </a:xfrm>
        </p:spPr>
        <p:txBody>
          <a:bodyPr/>
          <a:lstStyle>
            <a:lvl1pPr marL="0" indent="0" algn="r">
              <a:buNone/>
              <a:defRPr sz="700" b="0" i="0"/>
            </a:lvl1pPr>
          </a:lstStyle>
          <a:p>
            <a:pPr lvl="0"/>
            <a:r>
              <a:rPr lang="da-DK" dirty="0"/>
              <a:t>Klik for at tilføje REF</a:t>
            </a:r>
          </a:p>
        </p:txBody>
      </p:sp>
      <p:sp>
        <p:nvSpPr>
          <p:cNvPr id="1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17325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797137" y="1528348"/>
            <a:ext cx="10592967"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97138" y="2975665"/>
            <a:ext cx="10592967"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0612CFF6-5028-44F6-976B-BC2633367D57}"/>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F12A8DD0-75A4-4B0E-844E-019FDF4F0D9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B6D74E47-60F1-43B5-9AD9-7694C305353C}"/>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D8B4CAC5-CA9A-4E04-88EE-1A57ACD12B6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EC9415BA-2B16-481B-BEDD-523C8C3D0131}"/>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1DC2F2F2-6981-4BBA-BD92-550491AA8F2D}"/>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DA5F5228-C03A-4B7D-B352-B0D60986D616}"/>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5" name="Logo">
            <a:extLst>
              <a:ext uri="{FF2B5EF4-FFF2-40B4-BE49-F238E27FC236}">
                <a16:creationId xmlns:a16="http://schemas.microsoft.com/office/drawing/2014/main" id="{BC2138B7-E8A4-495D-B720-02796C51E0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8678991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87604" y="1152001"/>
            <a:ext cx="10593959" cy="505413"/>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88605" y="1925481"/>
            <a:ext cx="758512" cy="218236"/>
          </a:xfrm>
        </p:spPr>
        <p:txBody>
          <a:bodyPr/>
          <a:lstStyle>
            <a:lvl1pPr marL="0" indent="0">
              <a:lnSpc>
                <a:spcPct val="100000"/>
              </a:lnSpc>
              <a:spcBef>
                <a:spcPts val="0"/>
              </a:spcBef>
              <a:buNone/>
              <a:defRPr sz="900" b="1" cap="all" baseline="0"/>
            </a:lvl1pPr>
            <a:lvl2pPr marL="288005" indent="0">
              <a:buNone/>
              <a:defRPr sz="900" b="1" cap="all" baseline="0"/>
            </a:lvl2pPr>
            <a:lvl3pPr marL="576010" indent="0">
              <a:buNone/>
              <a:defRPr sz="900" b="1" cap="all" baseline="0"/>
            </a:lvl3pPr>
            <a:lvl4pPr marL="576010" indent="0">
              <a:buNone/>
              <a:defRPr sz="900" b="1" cap="all" baseline="0"/>
            </a:lvl4pPr>
            <a:lvl5pPr marL="57601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609329" y="1925482"/>
            <a:ext cx="1630015" cy="218236"/>
          </a:xfrm>
        </p:spPr>
        <p:txBody>
          <a:bodyPr/>
          <a:lstStyle>
            <a:lvl1pPr marL="90001" indent="-90001">
              <a:lnSpc>
                <a:spcPct val="100000"/>
              </a:lnSpc>
              <a:spcBef>
                <a:spcPts val="0"/>
              </a:spcBef>
              <a:buClr>
                <a:schemeClr val="accent2"/>
              </a:buClr>
              <a:buSzPct val="105000"/>
              <a:buFont typeface="Verdana" panose="020B0604030504040204" pitchFamily="34" charset="0"/>
              <a:buChar char="/"/>
              <a:defRPr sz="900"/>
            </a:lvl1pPr>
            <a:lvl2pPr marL="162003" indent="-90001">
              <a:lnSpc>
                <a:spcPct val="100000"/>
              </a:lnSpc>
              <a:spcBef>
                <a:spcPts val="0"/>
              </a:spcBef>
              <a:buClr>
                <a:schemeClr val="accent2"/>
              </a:buClr>
              <a:buSzPct val="105000"/>
              <a:buFont typeface="Verdana" panose="020B0604030504040204" pitchFamily="34" charset="0"/>
              <a:buChar char="/"/>
              <a:defRPr sz="900"/>
            </a:lvl2pPr>
            <a:lvl3pPr marL="162003" indent="-90001">
              <a:lnSpc>
                <a:spcPct val="100000"/>
              </a:lnSpc>
              <a:spcBef>
                <a:spcPts val="0"/>
              </a:spcBef>
              <a:buClr>
                <a:schemeClr val="accent2"/>
              </a:buClr>
              <a:buSzPct val="105000"/>
              <a:buFont typeface="Verdana" panose="020B0604030504040204" pitchFamily="34" charset="0"/>
              <a:buChar char="/"/>
              <a:defRPr sz="900"/>
            </a:lvl3pPr>
            <a:lvl4pPr marL="162003" indent="-90001">
              <a:lnSpc>
                <a:spcPct val="100000"/>
              </a:lnSpc>
              <a:spcBef>
                <a:spcPts val="0"/>
              </a:spcBef>
              <a:buClr>
                <a:schemeClr val="accent2"/>
              </a:buClr>
              <a:buSzPct val="105000"/>
              <a:buFont typeface="Verdana" panose="020B0604030504040204" pitchFamily="34" charset="0"/>
              <a:buChar char="/"/>
              <a:defRPr sz="900"/>
            </a:lvl4pPr>
            <a:lvl5pPr marL="162003" indent="-90001">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3374016" y="1925482"/>
            <a:ext cx="5421137" cy="4067774"/>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28">
            <a:extLst>
              <a:ext uri="{FF2B5EF4-FFF2-40B4-BE49-F238E27FC236}">
                <a16:creationId xmlns:a16="http://schemas.microsoft.com/office/drawing/2014/main" id="{37A07B4A-3944-49E7-A4E5-44887765CA4B}"/>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F15DA75A-63B3-4138-A7CD-B87639830538}"/>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3" name="Text Placeholder 32">
            <a:extLst>
              <a:ext uri="{FF2B5EF4-FFF2-40B4-BE49-F238E27FC236}">
                <a16:creationId xmlns:a16="http://schemas.microsoft.com/office/drawing/2014/main" id="{151D715B-E99C-4D87-9E19-ECE57865FB35}"/>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8" name="Text Placeholder 34">
            <a:extLst>
              <a:ext uri="{FF2B5EF4-FFF2-40B4-BE49-F238E27FC236}">
                <a16:creationId xmlns:a16="http://schemas.microsoft.com/office/drawing/2014/main" id="{1C0146A7-354A-4D5C-9E12-470665487CA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9" name="Text Placeholder 36">
            <a:extLst>
              <a:ext uri="{FF2B5EF4-FFF2-40B4-BE49-F238E27FC236}">
                <a16:creationId xmlns:a16="http://schemas.microsoft.com/office/drawing/2014/main" id="{BF380BEC-F9E4-44FD-BE37-4CE98C69BBB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29369818-45E9-48FB-B30B-C4F3BE518C6A}"/>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857A7085-5868-43EA-88ED-A834659655E4}"/>
              </a:ext>
            </a:extLst>
          </p:cNvPr>
          <p:cNvSpPr>
            <a:spLocks noGrp="1"/>
          </p:cNvSpPr>
          <p:nvPr>
            <p:ph type="dt" sz="half" idx="33"/>
          </p:nvPr>
        </p:nvSpPr>
        <p:spPr/>
        <p:txBody>
          <a:bodyPr/>
          <a:lstStyle/>
          <a:p>
            <a:endParaRPr lang="da-DK" dirty="0"/>
          </a:p>
        </p:txBody>
      </p:sp>
      <p:sp>
        <p:nvSpPr>
          <p:cNvPr id="9" name="Slide Number Placeholder 8">
            <a:extLst>
              <a:ext uri="{FF2B5EF4-FFF2-40B4-BE49-F238E27FC236}">
                <a16:creationId xmlns:a16="http://schemas.microsoft.com/office/drawing/2014/main" id="{BB1F2006-0D17-49BD-A27E-FDBD308DE79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7" name="Rectangle 16">
            <a:extLst>
              <a:ext uri="{FF2B5EF4-FFF2-40B4-BE49-F238E27FC236}">
                <a16:creationId xmlns:a16="http://schemas.microsoft.com/office/drawing/2014/main" id="{BDF2C331-5D85-4EB5-9BF1-6A8757ABA3F4}"/>
              </a:ext>
            </a:extLst>
          </p:cNvPr>
          <p:cNvSpPr/>
          <p:nvPr userDrawn="1"/>
        </p:nvSpPr>
        <p:spPr>
          <a:xfrm>
            <a:off x="11083796" y="6319767"/>
            <a:ext cx="45731"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8" name="Logo">
            <a:extLst>
              <a:ext uri="{FF2B5EF4-FFF2-40B4-BE49-F238E27FC236}">
                <a16:creationId xmlns:a16="http://schemas.microsoft.com/office/drawing/2014/main" id="{0FF15FFF-5349-4A6E-9284-71056EFBB0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227826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8"/>
            <a:ext cx="12193200" cy="4325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18" name="Title 1">
            <a:extLst>
              <a:ext uri="{FF2B5EF4-FFF2-40B4-BE49-F238E27FC236}">
                <a16:creationId xmlns:a16="http://schemas.microsoft.com/office/drawing/2014/main" id="{E56EB49D-0741-410B-B7DA-85B5CBF6F984}"/>
              </a:ext>
            </a:extLst>
          </p:cNvPr>
          <p:cNvSpPr>
            <a:spLocks noGrp="1"/>
          </p:cNvSpPr>
          <p:nvPr>
            <p:ph type="title" hasCustomPrompt="1"/>
          </p:nvPr>
        </p:nvSpPr>
        <p:spPr>
          <a:xfrm>
            <a:off x="788605" y="1152001"/>
            <a:ext cx="10593959" cy="505413"/>
          </a:xfrm>
        </p:spPr>
        <p:txBody>
          <a:bodyPr/>
          <a:lstStyle>
            <a:lvl1pPr>
              <a:defRPr sz="2000"/>
            </a:lvl1pPr>
          </a:lstStyle>
          <a:p>
            <a:r>
              <a:rPr lang="da-DK" dirty="0"/>
              <a:t>Klik her for at tilføje en titel</a:t>
            </a:r>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88604" y="2330450"/>
            <a:ext cx="10593959" cy="3124215"/>
          </a:xfrm>
        </p:spPr>
        <p:txBody>
          <a:bodyPr/>
          <a:lstStyle>
            <a:lvl1pPr>
              <a:defRPr/>
            </a:lvl1pPr>
          </a:lstStyle>
          <a:p>
            <a:pPr lvl="0"/>
            <a:r>
              <a:rPr lang="da-DK" dirty="0"/>
              <a:t>Indsæt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Text Placeholder 10">
            <a:extLst>
              <a:ext uri="{FF2B5EF4-FFF2-40B4-BE49-F238E27FC236}">
                <a16:creationId xmlns:a16="http://schemas.microsoft.com/office/drawing/2014/main" id="{8521F739-A77E-4BF5-B1BC-AA8DA3B6A3DD}"/>
              </a:ext>
            </a:extLst>
          </p:cNvPr>
          <p:cNvSpPr>
            <a:spLocks noGrp="1"/>
          </p:cNvSpPr>
          <p:nvPr>
            <p:ph type="body" sz="quarter" idx="16" hasCustomPrompt="1"/>
          </p:nvPr>
        </p:nvSpPr>
        <p:spPr>
          <a:xfrm>
            <a:off x="788605" y="5454664"/>
            <a:ext cx="10593959" cy="542134"/>
          </a:xfrm>
        </p:spPr>
        <p:txBody>
          <a:bodyPr anchor="b" anchorCtr="0"/>
          <a:lstStyle>
            <a:lvl1pPr marL="108002" indent="-108002">
              <a:lnSpc>
                <a:spcPct val="114000"/>
              </a:lnSpc>
              <a:spcBef>
                <a:spcPts val="0"/>
              </a:spcBef>
              <a:buFont typeface="Verdana" panose="020B0604030504040204" pitchFamily="34" charset="0"/>
              <a:buChar char="*"/>
              <a:defRPr sz="900"/>
            </a:lvl1pPr>
            <a:lvl2pPr marL="108002" indent="-108002">
              <a:lnSpc>
                <a:spcPct val="114000"/>
              </a:lnSpc>
              <a:spcBef>
                <a:spcPts val="0"/>
              </a:spcBef>
              <a:buFont typeface="Verdana" panose="020B0604030504040204" pitchFamily="34" charset="0"/>
              <a:buChar char="*"/>
              <a:defRPr sz="900"/>
            </a:lvl2pPr>
            <a:lvl3pPr marL="108002" indent="-108002">
              <a:lnSpc>
                <a:spcPct val="114000"/>
              </a:lnSpc>
              <a:spcBef>
                <a:spcPts val="0"/>
              </a:spcBef>
              <a:buFont typeface="Verdana" panose="020B0604030504040204" pitchFamily="34" charset="0"/>
              <a:buChar char="*"/>
              <a:defRPr sz="900"/>
            </a:lvl3pPr>
            <a:lvl4pPr marL="108002" indent="-108002">
              <a:lnSpc>
                <a:spcPct val="114000"/>
              </a:lnSpc>
              <a:spcBef>
                <a:spcPts val="0"/>
              </a:spcBef>
              <a:buFont typeface="Verdana" panose="020B0604030504040204" pitchFamily="34" charset="0"/>
              <a:buChar char="*"/>
              <a:defRPr sz="900"/>
            </a:lvl4pPr>
            <a:lvl5pPr marL="108002" indent="-108002">
              <a:lnSpc>
                <a:spcPct val="114000"/>
              </a:lnSpc>
              <a:spcBef>
                <a:spcPts val="0"/>
              </a:spcBef>
              <a:buFont typeface="Verdana" panose="020B0604030504040204" pitchFamily="34" charset="0"/>
              <a:buChar char="*"/>
              <a:defRPr sz="900"/>
            </a:lvl5pPr>
          </a:lstStyle>
          <a:p>
            <a:pPr lvl="0"/>
            <a:r>
              <a:rPr lang="da-DK" dirty="0"/>
              <a:t>Klik for at tilføje notes tekst</a:t>
            </a:r>
          </a:p>
        </p:txBody>
      </p:sp>
      <p:sp>
        <p:nvSpPr>
          <p:cNvPr id="19" name="Text Placeholder 28">
            <a:extLst>
              <a:ext uri="{FF2B5EF4-FFF2-40B4-BE49-F238E27FC236}">
                <a16:creationId xmlns:a16="http://schemas.microsoft.com/office/drawing/2014/main" id="{F3D6C4D7-2182-4D2E-98E7-17C54D911F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23928120-F7AD-4132-B2D1-885537200377}"/>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DB371D97-D4DB-46B4-8D78-9B05B3ED1EC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72F5B903-D8AA-4473-AD0F-237D3B3B8B14}"/>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88789C0D-CC71-41BE-9C10-0DE1D4BC48B0}"/>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95E91C6A-48DB-404A-9963-E3363BD8E67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99C9ADCA-2F9B-4B88-89AC-7C9848773786}"/>
              </a:ext>
            </a:extLst>
          </p:cNvPr>
          <p:cNvSpPr>
            <a:spLocks noGrp="1"/>
          </p:cNvSpPr>
          <p:nvPr>
            <p:ph type="dt" sz="half" idx="33"/>
          </p:nvPr>
        </p:nvSpPr>
        <p:spPr/>
        <p:txBody>
          <a:bodyPr/>
          <a:lstStyle/>
          <a:p>
            <a:endParaRPr lang="da-DK" dirty="0"/>
          </a:p>
        </p:txBody>
      </p:sp>
      <p:sp>
        <p:nvSpPr>
          <p:cNvPr id="6" name="Footer Placeholder 5">
            <a:extLst>
              <a:ext uri="{FF2B5EF4-FFF2-40B4-BE49-F238E27FC236}">
                <a16:creationId xmlns:a16="http://schemas.microsoft.com/office/drawing/2014/main" id="{46C6F170-0595-4906-A788-9FA05495F33D}"/>
              </a:ext>
            </a:extLst>
          </p:cNvPr>
          <p:cNvSpPr>
            <a:spLocks noGrp="1"/>
          </p:cNvSpPr>
          <p:nvPr>
            <p:ph type="ftr" sz="quarter" idx="34"/>
          </p:nvPr>
        </p:nvSpPr>
        <p:spPr/>
        <p:txBody>
          <a:bodyPr/>
          <a:lstStyle/>
          <a:p>
            <a:r>
              <a:rPr lang="da-DK" dirty="0"/>
              <a:t>CH HKO orientering ved NMI 3 APR 22</a:t>
            </a:r>
          </a:p>
        </p:txBody>
      </p:sp>
      <p:sp>
        <p:nvSpPr>
          <p:cNvPr id="7" name="Slide Number Placeholder 6">
            <a:extLst>
              <a:ext uri="{FF2B5EF4-FFF2-40B4-BE49-F238E27FC236}">
                <a16:creationId xmlns:a16="http://schemas.microsoft.com/office/drawing/2014/main" id="{D8AF9784-6EE7-47CA-89C5-F5304A61BEF1}"/>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F16F26B9-3D9E-4A9C-96CF-1FF47F1C34C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189C4CBF-111F-4EEF-A16E-C5CC093A4E8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0854738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5272"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5" y="2075383"/>
            <a:ext cx="5034111" cy="3928543"/>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8461" y="1150634"/>
            <a:ext cx="5294104" cy="4853292"/>
          </a:xfrm>
        </p:spPr>
        <p:txBody>
          <a:bodyPr tIns="720000" anchor="ctr" anchorCtr="0"/>
          <a:lstStyle>
            <a:lvl1pPr marL="0" indent="0" algn="ctr">
              <a:buNone/>
              <a:defRPr/>
            </a:lvl1pPr>
          </a:lstStyle>
          <a:p>
            <a:r>
              <a:rPr lang="da-DK" dirty="0"/>
              <a:t>Klik på ikonet for at tilføje et billede</a:t>
            </a:r>
          </a:p>
        </p:txBody>
      </p:sp>
      <p:sp>
        <p:nvSpPr>
          <p:cNvPr id="17" name="Text Placeholder 28">
            <a:extLst>
              <a:ext uri="{FF2B5EF4-FFF2-40B4-BE49-F238E27FC236}">
                <a16:creationId xmlns:a16="http://schemas.microsoft.com/office/drawing/2014/main" id="{6A8EBF36-AD3D-4B28-95DD-8939EA379A20}"/>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B1FB3350-BF67-4DA5-AFEA-BE4C1CDD9C4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593A96B2-009D-4F7A-8B06-2A1E3ED8870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141C9443-BA4F-49A8-BCBC-4970459A3022}"/>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B00D538-4C54-41A4-9B68-1DF3FD1EC57E}"/>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488013D-A966-4713-90CC-A37DFE03B8F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20740197-F95B-4E5D-91A2-2238A9152CFF}"/>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71FDB4F2-D433-4E89-B486-7F13D3B44C12}"/>
              </a:ext>
            </a:extLst>
          </p:cNvPr>
          <p:cNvSpPr>
            <a:spLocks noGrp="1"/>
          </p:cNvSpPr>
          <p:nvPr>
            <p:ph type="ftr" sz="quarter" idx="34"/>
          </p:nvPr>
        </p:nvSpPr>
        <p:spPr/>
        <p:txBody>
          <a:bodyPr/>
          <a:lstStyle/>
          <a:p>
            <a:r>
              <a:rPr lang="da-DK" dirty="0"/>
              <a:t>CH HKO orientering ved NMI 3 APR 22</a:t>
            </a:r>
          </a:p>
        </p:txBody>
      </p:sp>
      <p:sp>
        <p:nvSpPr>
          <p:cNvPr id="8" name="Slide Number Placeholder 7">
            <a:extLst>
              <a:ext uri="{FF2B5EF4-FFF2-40B4-BE49-F238E27FC236}">
                <a16:creationId xmlns:a16="http://schemas.microsoft.com/office/drawing/2014/main" id="{0FECEA09-3452-4881-A765-438D791BDE55}"/>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5" name="Rectangle 14">
            <a:extLst>
              <a:ext uri="{FF2B5EF4-FFF2-40B4-BE49-F238E27FC236}">
                <a16:creationId xmlns:a16="http://schemas.microsoft.com/office/drawing/2014/main" id="{F52DEE41-8102-467F-BBCB-6B39934E1968}"/>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06A2122B-2FCD-4205-96C0-18616546D0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99150533"/>
      </p:ext>
    </p:extLst>
  </p:cSld>
  <p:clrMapOvr>
    <a:masterClrMapping/>
  </p:clrMapOvr>
  <p:extLst>
    <p:ext uri="{DCECCB84-F9BA-43D5-87BE-67443E8EF086}">
      <p15:sldGuideLst xmlns:p15="http://schemas.microsoft.com/office/powerpoint/2012/main">
        <p15:guide id="1" pos="3839">
          <p15:clr>
            <a:srgbClr val="000000"/>
          </p15:clr>
        </p15:guide>
        <p15:guide id="2" pos="3676">
          <p15:clr>
            <a:srgbClr val="00000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og to bille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5383"/>
            <a:ext cx="5033754"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1"/>
            <a:ext cx="5294103" cy="2326864"/>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1" cy="2326864"/>
          </a:xfrm>
        </p:spPr>
        <p:txBody>
          <a:bodyPr tIns="720000" anchor="ctr" anchorCtr="0"/>
          <a:lstStyle>
            <a:lvl1pPr marL="0" indent="0" algn="ctr">
              <a:buNone/>
              <a:defRPr/>
            </a:lvl1pPr>
          </a:lstStyle>
          <a:p>
            <a:r>
              <a:rPr lang="da-DK" dirty="0"/>
              <a:t>Klik på ikonet for at tilføje et billede</a:t>
            </a:r>
          </a:p>
        </p:txBody>
      </p:sp>
      <p:sp>
        <p:nvSpPr>
          <p:cNvPr id="18" name="Text Placeholder 28">
            <a:extLst>
              <a:ext uri="{FF2B5EF4-FFF2-40B4-BE49-F238E27FC236}">
                <a16:creationId xmlns:a16="http://schemas.microsoft.com/office/drawing/2014/main" id="{AAC6E81A-7D70-4FEA-ACE9-06ADBF7D4632}"/>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250BEB9C-150C-4318-AB1C-ECB7AD1B834E}"/>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0" name="Text Placeholder 32">
            <a:extLst>
              <a:ext uri="{FF2B5EF4-FFF2-40B4-BE49-F238E27FC236}">
                <a16:creationId xmlns:a16="http://schemas.microsoft.com/office/drawing/2014/main" id="{476D5BF2-5E9B-47D8-A511-355E03129BAB}"/>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1" name="Text Placeholder 34">
            <a:extLst>
              <a:ext uri="{FF2B5EF4-FFF2-40B4-BE49-F238E27FC236}">
                <a16:creationId xmlns:a16="http://schemas.microsoft.com/office/drawing/2014/main" id="{ECC22FB5-7706-4B22-9D8F-130422D7802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2" name="Text Placeholder 36">
            <a:extLst>
              <a:ext uri="{FF2B5EF4-FFF2-40B4-BE49-F238E27FC236}">
                <a16:creationId xmlns:a16="http://schemas.microsoft.com/office/drawing/2014/main" id="{FF16197A-4969-40C1-9FF4-BA90D93AE616}"/>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3" name="Text Placeholder 38">
            <a:extLst>
              <a:ext uri="{FF2B5EF4-FFF2-40B4-BE49-F238E27FC236}">
                <a16:creationId xmlns:a16="http://schemas.microsoft.com/office/drawing/2014/main" id="{C97C2E3F-C178-460F-9211-EE15E734A9F1}"/>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6" name="Date Placeholder 5">
            <a:extLst>
              <a:ext uri="{FF2B5EF4-FFF2-40B4-BE49-F238E27FC236}">
                <a16:creationId xmlns:a16="http://schemas.microsoft.com/office/drawing/2014/main" id="{D64733AF-8CBE-4216-8B2C-3FF0AD54C6B8}"/>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6DC38870-61FB-49C5-BF04-3FF12E8E4DED}"/>
              </a:ext>
            </a:extLst>
          </p:cNvPr>
          <p:cNvSpPr>
            <a:spLocks noGrp="1"/>
          </p:cNvSpPr>
          <p:nvPr>
            <p:ph type="ftr" sz="quarter" idx="34"/>
          </p:nvPr>
        </p:nvSpPr>
        <p:spPr/>
        <p:txBody>
          <a:bodyPr/>
          <a:lstStyle/>
          <a:p>
            <a:r>
              <a:rPr lang="da-DK" dirty="0"/>
              <a:t>CH HKO orientering ved NMI 3 APR 22</a:t>
            </a:r>
          </a:p>
        </p:txBody>
      </p:sp>
      <p:sp>
        <p:nvSpPr>
          <p:cNvPr id="8" name="Slide Number Placeholder 7">
            <a:extLst>
              <a:ext uri="{FF2B5EF4-FFF2-40B4-BE49-F238E27FC236}">
                <a16:creationId xmlns:a16="http://schemas.microsoft.com/office/drawing/2014/main" id="{631977CB-D006-42F6-91D8-78885D0FB50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6" name="Rectangle 15">
            <a:extLst>
              <a:ext uri="{FF2B5EF4-FFF2-40B4-BE49-F238E27FC236}">
                <a16:creationId xmlns:a16="http://schemas.microsoft.com/office/drawing/2014/main" id="{685621B1-8437-49D1-B87C-5313FC51808C}"/>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7" name="Logo">
            <a:extLst>
              <a:ext uri="{FF2B5EF4-FFF2-40B4-BE49-F238E27FC236}">
                <a16:creationId xmlns:a16="http://schemas.microsoft.com/office/drawing/2014/main" id="{2B690131-8682-4F8C-8B22-DDB9CBBC2AA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3910675517"/>
      </p:ext>
    </p:extLst>
  </p:cSld>
  <p:clrMapOvr>
    <a:masterClrMapping/>
  </p:clrMapOvr>
  <p:extLst>
    <p:ext uri="{DCECCB84-F9BA-43D5-87BE-67443E8EF086}">
      <p15:sldGuideLst xmlns:p15="http://schemas.microsoft.com/office/powerpoint/2012/main">
        <p15:guide id="1" pos="3839">
          <p15:clr>
            <a:srgbClr val="000000"/>
          </p15:clr>
        </p15:guide>
        <p15:guide id="3" pos="3675">
          <p15:clr>
            <a:srgbClr val="00000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kst og fire billeder">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CA59328A-F667-416F-8258-ED5A667E7C3C}"/>
              </a:ext>
            </a:extLst>
          </p:cNvPr>
          <p:cNvSpPr>
            <a:spLocks noGrp="1"/>
          </p:cNvSpPr>
          <p:nvPr>
            <p:ph type="title" hasCustomPrompt="1"/>
          </p:nvPr>
        </p:nvSpPr>
        <p:spPr>
          <a:xfrm>
            <a:off x="788606" y="1150630"/>
            <a:ext cx="5033686" cy="720000"/>
          </a:xfrm>
        </p:spPr>
        <p:txBody>
          <a:bodyPr>
            <a:normAutofit/>
          </a:bodyPr>
          <a:lstStyle>
            <a:lvl1pPr>
              <a:lnSpc>
                <a:spcPct val="102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88606" y="2077200"/>
            <a:ext cx="5033222" cy="1357938"/>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6089186" y="1150634"/>
            <a:ext cx="5294103" cy="2326861"/>
          </a:xfrm>
        </p:spPr>
        <p:txBody>
          <a:bodyPr tIns="720000" anchor="ctr" anchorCtr="0"/>
          <a:lstStyle>
            <a:lvl1pPr marL="0" indent="0" algn="ctr">
              <a:buNone/>
              <a:defRPr/>
            </a:lvl1pPr>
          </a:lstStyle>
          <a:p>
            <a:r>
              <a:rPr lang="da-DK" dirty="0"/>
              <a:t>Klik på ikonet for at tilføje et billede</a:t>
            </a:r>
          </a:p>
        </p:txBody>
      </p:sp>
      <p:sp>
        <p:nvSpPr>
          <p:cNvPr id="10" name="Picture Placeholder 9">
            <a:extLst>
              <a:ext uri="{FF2B5EF4-FFF2-40B4-BE49-F238E27FC236}">
                <a16:creationId xmlns:a16="http://schemas.microsoft.com/office/drawing/2014/main" id="{92A9C204-9722-45E2-87DD-0F66D939BA88}"/>
              </a:ext>
            </a:extLst>
          </p:cNvPr>
          <p:cNvSpPr>
            <a:spLocks noGrp="1"/>
          </p:cNvSpPr>
          <p:nvPr>
            <p:ph type="pic" sz="quarter" idx="15" hasCustomPrompt="1"/>
          </p:nvPr>
        </p:nvSpPr>
        <p:spPr>
          <a:xfrm>
            <a:off x="6089186" y="3679200"/>
            <a:ext cx="5294103" cy="2325600"/>
          </a:xfrm>
        </p:spPr>
        <p:txBody>
          <a:bodyPr tIns="720000" anchor="ctr" anchorCtr="0"/>
          <a:lstStyle>
            <a:lvl1pPr marL="0" indent="0" algn="ctr">
              <a:buNone/>
              <a:defRPr/>
            </a:lvl1pPr>
          </a:lstStyle>
          <a:p>
            <a:r>
              <a:rPr lang="da-DK" dirty="0"/>
              <a:t>Klik på ikonet for at tilføje et billede</a:t>
            </a:r>
          </a:p>
        </p:txBody>
      </p:sp>
      <p:sp>
        <p:nvSpPr>
          <p:cNvPr id="7" name="Picture Placeholder 6">
            <a:extLst>
              <a:ext uri="{FF2B5EF4-FFF2-40B4-BE49-F238E27FC236}">
                <a16:creationId xmlns:a16="http://schemas.microsoft.com/office/drawing/2014/main" id="{0375E19A-5489-4BE4-B873-A87F03CC04C4}"/>
              </a:ext>
            </a:extLst>
          </p:cNvPr>
          <p:cNvSpPr>
            <a:spLocks noGrp="1"/>
          </p:cNvSpPr>
          <p:nvPr>
            <p:ph type="pic" sz="quarter" idx="16" hasCustomPrompt="1"/>
          </p:nvPr>
        </p:nvSpPr>
        <p:spPr>
          <a:xfrm>
            <a:off x="788606"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13" name="Picture Placeholder 12">
            <a:extLst>
              <a:ext uri="{FF2B5EF4-FFF2-40B4-BE49-F238E27FC236}">
                <a16:creationId xmlns:a16="http://schemas.microsoft.com/office/drawing/2014/main" id="{BD060AB5-D980-4E07-83FD-76BF3F4E16DC}"/>
              </a:ext>
            </a:extLst>
          </p:cNvPr>
          <p:cNvSpPr>
            <a:spLocks noGrp="1"/>
          </p:cNvSpPr>
          <p:nvPr>
            <p:ph type="pic" sz="quarter" idx="17" hasCustomPrompt="1"/>
          </p:nvPr>
        </p:nvSpPr>
        <p:spPr>
          <a:xfrm>
            <a:off x="3539722" y="3679200"/>
            <a:ext cx="2283884" cy="2325600"/>
          </a:xfrm>
        </p:spPr>
        <p:txBody>
          <a:bodyPr tIns="720000" anchor="ctr" anchorCtr="0"/>
          <a:lstStyle>
            <a:lvl1pPr marL="0" indent="0" algn="ctr">
              <a:buNone/>
              <a:defRPr/>
            </a:lvl1pPr>
          </a:lstStyle>
          <a:p>
            <a:r>
              <a:rPr lang="da-DK" dirty="0"/>
              <a:t>Klik på ikonet for at tilføje et billede</a:t>
            </a:r>
          </a:p>
        </p:txBody>
      </p:sp>
      <p:sp>
        <p:nvSpPr>
          <p:cNvPr id="20" name="Text Placeholder 28">
            <a:extLst>
              <a:ext uri="{FF2B5EF4-FFF2-40B4-BE49-F238E27FC236}">
                <a16:creationId xmlns:a16="http://schemas.microsoft.com/office/drawing/2014/main" id="{012B17DA-CFE1-4F96-8ACC-65C2A809671E}"/>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21" name="Text Placeholder 30">
            <a:extLst>
              <a:ext uri="{FF2B5EF4-FFF2-40B4-BE49-F238E27FC236}">
                <a16:creationId xmlns:a16="http://schemas.microsoft.com/office/drawing/2014/main" id="{186A6329-B153-47C0-A6B7-88CFD2F8151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FF9580EF-7326-4577-A1C8-30703DBAE92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61540157-CAD4-45BB-A494-D642ADCEB96C}"/>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B378486-A6C7-42D6-8B03-78E8EF0F7C2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309F1F8A-D9FD-4423-8697-0137EF115DCF}"/>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4C8D6E0-5998-43AC-86E4-BAC0EAC6C99C}"/>
              </a:ext>
            </a:extLst>
          </p:cNvPr>
          <p:cNvSpPr>
            <a:spLocks noGrp="1"/>
          </p:cNvSpPr>
          <p:nvPr>
            <p:ph type="dt" sz="half" idx="30"/>
          </p:nvPr>
        </p:nvSpPr>
        <p:spPr/>
        <p:txBody>
          <a:bodyPr/>
          <a:lstStyle/>
          <a:p>
            <a:endParaRPr lang="da-DK" dirty="0"/>
          </a:p>
        </p:txBody>
      </p:sp>
      <p:sp>
        <p:nvSpPr>
          <p:cNvPr id="6" name="Footer Placeholder 5">
            <a:extLst>
              <a:ext uri="{FF2B5EF4-FFF2-40B4-BE49-F238E27FC236}">
                <a16:creationId xmlns:a16="http://schemas.microsoft.com/office/drawing/2014/main" id="{AD577698-E215-4889-8758-C9C8E3D15572}"/>
              </a:ext>
            </a:extLst>
          </p:cNvPr>
          <p:cNvSpPr>
            <a:spLocks noGrp="1"/>
          </p:cNvSpPr>
          <p:nvPr>
            <p:ph type="ftr" sz="quarter" idx="31"/>
          </p:nvPr>
        </p:nvSpPr>
        <p:spPr/>
        <p:txBody>
          <a:bodyPr/>
          <a:lstStyle/>
          <a:p>
            <a:r>
              <a:rPr lang="da-DK" dirty="0"/>
              <a:t>CH HKO orientering ved NMI 3 APR 22</a:t>
            </a:r>
          </a:p>
        </p:txBody>
      </p:sp>
      <p:sp>
        <p:nvSpPr>
          <p:cNvPr id="8" name="Slide Number Placeholder 7">
            <a:extLst>
              <a:ext uri="{FF2B5EF4-FFF2-40B4-BE49-F238E27FC236}">
                <a16:creationId xmlns:a16="http://schemas.microsoft.com/office/drawing/2014/main" id="{32CA26D4-18B6-48DB-91E0-4DE787564F2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8" name="Rectangle 17">
            <a:extLst>
              <a:ext uri="{FF2B5EF4-FFF2-40B4-BE49-F238E27FC236}">
                <a16:creationId xmlns:a16="http://schemas.microsoft.com/office/drawing/2014/main" id="{74F45923-84F7-47B6-A5F0-BA54DC3A1C6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9" name="Logo">
            <a:extLst>
              <a:ext uri="{FF2B5EF4-FFF2-40B4-BE49-F238E27FC236}">
                <a16:creationId xmlns:a16="http://schemas.microsoft.com/office/drawing/2014/main" id="{762512F1-8192-4B00-9C7F-D2B2A3315B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1056299494"/>
      </p:ext>
    </p:extLst>
  </p:cSld>
  <p:clrMapOvr>
    <a:masterClrMapping/>
  </p:clrMapOvr>
  <p:extLst>
    <p:ext uri="{DCECCB84-F9BA-43D5-87BE-67443E8EF086}">
      <p15:sldGuideLst xmlns:p15="http://schemas.microsoft.com/office/powerpoint/2012/main">
        <p15:guide id="1" pos="3839">
          <p15:clr>
            <a:srgbClr val="000000"/>
          </p15:clr>
        </p15:guide>
        <p15:guide id="2" pos="3675">
          <p15:clr>
            <a:srgbClr val="000000"/>
          </p15:clr>
        </p15:guide>
        <p15:guide id="3" pos="2073">
          <p15:clr>
            <a:srgbClr val="000000"/>
          </p15:clr>
        </p15:guide>
        <p15:guide id="4" pos="2237">
          <p15:clr>
            <a:srgbClr val="000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llede og tekst boks">
    <p:spTree>
      <p:nvGrpSpPr>
        <p:cNvPr id="1" name=""/>
        <p:cNvGrpSpPr/>
        <p:nvPr/>
      </p:nvGrpSpPr>
      <p:grpSpPr>
        <a:xfrm>
          <a:off x="0" y="0"/>
          <a:ext cx="0" cy="0"/>
          <a:chOff x="0" y="0"/>
          <a:chExt cx="0" cy="0"/>
        </a:xfrm>
      </p:grpSpPr>
      <p:sp>
        <p:nvSpPr>
          <p:cNvPr id="6" name="Pladsholder til billede 5"/>
          <p:cNvSpPr>
            <a:spLocks noGrp="1"/>
          </p:cNvSpPr>
          <p:nvPr>
            <p:ph type="pic" sz="quarter" idx="24" hasCustomPrompt="1"/>
          </p:nvPr>
        </p:nvSpPr>
        <p:spPr>
          <a:xfrm>
            <a:off x="788605" y="786306"/>
            <a:ext cx="10593959" cy="4928695"/>
          </a:xfrm>
        </p:spPr>
        <p:txBody>
          <a:bodyPr tIns="720000" rIns="0" anchor="ctr" anchorCtr="0"/>
          <a:lstStyle>
            <a:lvl1pPr marL="0" indent="0" algn="ctr">
              <a:buNone/>
              <a:defRPr/>
            </a:lvl1pPr>
          </a:lstStyle>
          <a:p>
            <a:r>
              <a:rPr lang="da-DK" dirty="0"/>
              <a:t>Klik på ikonet for at tilføje et billede</a:t>
            </a:r>
          </a:p>
        </p:txBody>
      </p:sp>
      <p:sp>
        <p:nvSpPr>
          <p:cNvPr id="15" name="Text Placeholder 14">
            <a:extLst>
              <a:ext uri="{FF2B5EF4-FFF2-40B4-BE49-F238E27FC236}">
                <a16:creationId xmlns:a16="http://schemas.microsoft.com/office/drawing/2014/main" id="{02A36351-E6B9-4A17-B973-27131ABDF42F}"/>
              </a:ext>
            </a:extLst>
          </p:cNvPr>
          <p:cNvSpPr>
            <a:spLocks noGrp="1"/>
          </p:cNvSpPr>
          <p:nvPr>
            <p:ph type="body" sz="quarter" idx="14" hasCustomPrompt="1"/>
          </p:nvPr>
        </p:nvSpPr>
        <p:spPr>
          <a:xfrm>
            <a:off x="1171881" y="3666199"/>
            <a:ext cx="2524782" cy="2305591"/>
          </a:xfrm>
          <a:solidFill>
            <a:schemeClr val="accent2"/>
          </a:solidFill>
        </p:spPr>
        <p:txBody>
          <a:bodyPr wrap="square" lIns="288000" tIns="180000" rIns="288000" bIns="144000" anchor="b" anchorCtr="0">
            <a:spAutoFit/>
          </a:bodyPr>
          <a:lstStyle>
            <a:lvl1pPr marL="0" indent="0">
              <a:lnSpc>
                <a:spcPct val="107000"/>
              </a:lnSpc>
              <a:spcBef>
                <a:spcPts val="0"/>
              </a:spcBef>
              <a:buFont typeface="Arial" panose="020B0604020202020204" pitchFamily="34" charset="0"/>
              <a:buChar char="​"/>
              <a:defRPr sz="1400" b="1">
                <a:solidFill>
                  <a:schemeClr val="bg1"/>
                </a:solidFill>
              </a:defRPr>
            </a:lvl1pPr>
            <a:lvl2pPr marL="0" indent="0">
              <a:spcBef>
                <a:spcPts val="1500"/>
              </a:spcBef>
              <a:buFont typeface="Arial" panose="020B0604020202020204" pitchFamily="34" charset="0"/>
              <a:buChar char="​"/>
              <a:defRPr sz="1000">
                <a:solidFill>
                  <a:schemeClr val="bg1"/>
                </a:solidFill>
              </a:defRPr>
            </a:lvl2pPr>
            <a:lvl3pPr marL="180003" indent="-180003">
              <a:spcBef>
                <a:spcPts val="1500"/>
              </a:spcBef>
              <a:defRPr sz="1000">
                <a:solidFill>
                  <a:schemeClr val="bg1"/>
                </a:solidFill>
              </a:defRPr>
            </a:lvl3pPr>
            <a:lvl4pPr marL="360006" indent="-180003">
              <a:spcBef>
                <a:spcPts val="1500"/>
              </a:spcBef>
              <a:defRPr sz="1000">
                <a:solidFill>
                  <a:schemeClr val="bg1"/>
                </a:solidFill>
              </a:defRPr>
            </a:lvl4pPr>
            <a:lvl5pPr marL="540009" indent="-180003">
              <a:spcBef>
                <a:spcPts val="1500"/>
              </a:spcBef>
              <a:defRPr sz="1000">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Text Placeholder 28">
            <a:extLst>
              <a:ext uri="{FF2B5EF4-FFF2-40B4-BE49-F238E27FC236}">
                <a16:creationId xmlns:a16="http://schemas.microsoft.com/office/drawing/2014/main" id="{A89810C5-A12C-4C0B-AB0F-E370E16A136A}"/>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8" name="Text Placeholder 30">
            <a:extLst>
              <a:ext uri="{FF2B5EF4-FFF2-40B4-BE49-F238E27FC236}">
                <a16:creationId xmlns:a16="http://schemas.microsoft.com/office/drawing/2014/main" id="{8D2F25F0-9D7E-4A0D-A297-72D04E7AFB84}"/>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9" name="Text Placeholder 32">
            <a:extLst>
              <a:ext uri="{FF2B5EF4-FFF2-40B4-BE49-F238E27FC236}">
                <a16:creationId xmlns:a16="http://schemas.microsoft.com/office/drawing/2014/main" id="{AAAD6BAE-EEF8-4BA1-BD7F-603960C97339}"/>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0" name="Text Placeholder 34">
            <a:extLst>
              <a:ext uri="{FF2B5EF4-FFF2-40B4-BE49-F238E27FC236}">
                <a16:creationId xmlns:a16="http://schemas.microsoft.com/office/drawing/2014/main" id="{ACFDEAE3-8EFE-4991-976C-6E7B53501B8E}"/>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1" name="Text Placeholder 36">
            <a:extLst>
              <a:ext uri="{FF2B5EF4-FFF2-40B4-BE49-F238E27FC236}">
                <a16:creationId xmlns:a16="http://schemas.microsoft.com/office/drawing/2014/main" id="{75CDA0B1-D595-4DDC-8784-FC04056BF998}"/>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2" name="Text Placeholder 38">
            <a:extLst>
              <a:ext uri="{FF2B5EF4-FFF2-40B4-BE49-F238E27FC236}">
                <a16:creationId xmlns:a16="http://schemas.microsoft.com/office/drawing/2014/main" id="{0F9AC1B8-B44F-432B-940B-ED7C8C9C8FF9}"/>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52FD9D1D-FF14-49B7-A97B-54E0E5AACB73}"/>
              </a:ext>
            </a:extLst>
          </p:cNvPr>
          <p:cNvSpPr>
            <a:spLocks noGrp="1"/>
          </p:cNvSpPr>
          <p:nvPr>
            <p:ph type="dt" sz="half" idx="30"/>
          </p:nvPr>
        </p:nvSpPr>
        <p:spPr/>
        <p:txBody>
          <a:bodyPr/>
          <a:lstStyle/>
          <a:p>
            <a:endParaRPr lang="da-DK" dirty="0"/>
          </a:p>
        </p:txBody>
      </p:sp>
      <p:sp>
        <p:nvSpPr>
          <p:cNvPr id="7" name="Footer Placeholder 6">
            <a:extLst>
              <a:ext uri="{FF2B5EF4-FFF2-40B4-BE49-F238E27FC236}">
                <a16:creationId xmlns:a16="http://schemas.microsoft.com/office/drawing/2014/main" id="{1843B6AC-93D5-44E4-8F1E-6F56244AD38D}"/>
              </a:ext>
            </a:extLst>
          </p:cNvPr>
          <p:cNvSpPr>
            <a:spLocks noGrp="1"/>
          </p:cNvSpPr>
          <p:nvPr>
            <p:ph type="ftr" sz="quarter" idx="31"/>
          </p:nvPr>
        </p:nvSpPr>
        <p:spPr/>
        <p:txBody>
          <a:bodyPr/>
          <a:lstStyle/>
          <a:p>
            <a:r>
              <a:rPr lang="da-DK" dirty="0"/>
              <a:t>CH HKO orientering ved NMI 3 APR 22</a:t>
            </a:r>
          </a:p>
        </p:txBody>
      </p:sp>
      <p:sp>
        <p:nvSpPr>
          <p:cNvPr id="8" name="Slide Number Placeholder 7">
            <a:extLst>
              <a:ext uri="{FF2B5EF4-FFF2-40B4-BE49-F238E27FC236}">
                <a16:creationId xmlns:a16="http://schemas.microsoft.com/office/drawing/2014/main" id="{9D1BFF15-ADC4-41B6-BCA6-8F4D1A1898E3}"/>
              </a:ext>
            </a:extLst>
          </p:cNvPr>
          <p:cNvSpPr>
            <a:spLocks noGrp="1"/>
          </p:cNvSpPr>
          <p:nvPr>
            <p:ph type="sldNum" sz="quarter" idx="32"/>
          </p:nvPr>
        </p:nvSpPr>
        <p:spPr/>
        <p:txBody>
          <a:bodyPr wrap="none"/>
          <a:lstStyle/>
          <a:p>
            <a:fld id="{E1EA47C5-00F7-4308-9CB9-463B1A6058F9}" type="slidenum">
              <a:rPr lang="da-DK" smtClean="0"/>
              <a:pPr/>
              <a:t>‹nr.›</a:t>
            </a:fld>
            <a:endParaRPr lang="da-DK" dirty="0"/>
          </a:p>
        </p:txBody>
      </p:sp>
      <p:sp>
        <p:nvSpPr>
          <p:cNvPr id="14" name="Rectangle 13">
            <a:extLst>
              <a:ext uri="{FF2B5EF4-FFF2-40B4-BE49-F238E27FC236}">
                <a16:creationId xmlns:a16="http://schemas.microsoft.com/office/drawing/2014/main" id="{30055934-29DC-4AD2-A343-CEC203C912E0}"/>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6" name="Logo">
            <a:extLst>
              <a:ext uri="{FF2B5EF4-FFF2-40B4-BE49-F238E27FC236}">
                <a16:creationId xmlns:a16="http://schemas.microsoft.com/office/drawing/2014/main" id="{29DDD414-473A-40C6-8D71-09F4132F9B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600090369"/>
      </p:ext>
    </p:extLst>
  </p:cSld>
  <p:clrMapOvr>
    <a:masterClrMapping/>
  </p:clrMapOvr>
  <p:extLst>
    <p:ext uri="{DCECCB84-F9BA-43D5-87BE-67443E8EF086}">
      <p15:sldGuideLst xmlns:p15="http://schemas.microsoft.com/office/powerpoint/2012/main">
        <p15:guide id="1" pos="301">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D776E-95AF-460A-98D2-97241326AFC5}"/>
              </a:ext>
            </a:extLst>
          </p:cNvPr>
          <p:cNvSpPr>
            <a:spLocks noGrp="1"/>
          </p:cNvSpPr>
          <p:nvPr>
            <p:ph type="title" hasCustomPrompt="1"/>
          </p:nvPr>
        </p:nvSpPr>
        <p:spPr>
          <a:xfrm>
            <a:off x="788605" y="1528348"/>
            <a:ext cx="10592967" cy="802103"/>
          </a:xfrm>
        </p:spPr>
        <p:txBody>
          <a:bodyPr/>
          <a:lstStyle>
            <a:lvl1pPr>
              <a:defRPr/>
            </a:lvl1pPr>
          </a:lstStyle>
          <a:p>
            <a:r>
              <a:rPr lang="da-DK" dirty="0"/>
              <a:t>Klik for at tilføje en titel</a:t>
            </a:r>
          </a:p>
        </p:txBody>
      </p:sp>
      <p:sp>
        <p:nvSpPr>
          <p:cNvPr id="15" name="Text Placeholder 28">
            <a:extLst>
              <a:ext uri="{FF2B5EF4-FFF2-40B4-BE49-F238E27FC236}">
                <a16:creationId xmlns:a16="http://schemas.microsoft.com/office/drawing/2014/main" id="{539C7357-0763-4F5F-852E-C79662098CD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6" name="Text Placeholder 30">
            <a:extLst>
              <a:ext uri="{FF2B5EF4-FFF2-40B4-BE49-F238E27FC236}">
                <a16:creationId xmlns:a16="http://schemas.microsoft.com/office/drawing/2014/main" id="{E1677E23-0BCB-4B43-9EC7-F6A8C55CDE1C}"/>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7" name="Text Placeholder 32">
            <a:extLst>
              <a:ext uri="{FF2B5EF4-FFF2-40B4-BE49-F238E27FC236}">
                <a16:creationId xmlns:a16="http://schemas.microsoft.com/office/drawing/2014/main" id="{9A8BE360-1F51-4886-B516-2C9E248B0638}"/>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8" name="Text Placeholder 34">
            <a:extLst>
              <a:ext uri="{FF2B5EF4-FFF2-40B4-BE49-F238E27FC236}">
                <a16:creationId xmlns:a16="http://schemas.microsoft.com/office/drawing/2014/main" id="{306F40D9-E883-4591-9BB2-53B2FB8DDE40}"/>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9" name="Text Placeholder 36">
            <a:extLst>
              <a:ext uri="{FF2B5EF4-FFF2-40B4-BE49-F238E27FC236}">
                <a16:creationId xmlns:a16="http://schemas.microsoft.com/office/drawing/2014/main" id="{72E18CC4-CBE6-4917-835D-E39EF908B2B5}"/>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6" name="Text Placeholder 38">
            <a:extLst>
              <a:ext uri="{FF2B5EF4-FFF2-40B4-BE49-F238E27FC236}">
                <a16:creationId xmlns:a16="http://schemas.microsoft.com/office/drawing/2014/main" id="{1C4ADBE0-2FC6-4901-83F1-F6F6C5424E02}"/>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D118E965-E19B-4E36-8890-D02573C4F5EF}"/>
              </a:ext>
            </a:extLst>
          </p:cNvPr>
          <p:cNvSpPr>
            <a:spLocks noGrp="1"/>
          </p:cNvSpPr>
          <p:nvPr>
            <p:ph type="dt" sz="half" idx="33"/>
          </p:nvPr>
        </p:nvSpPr>
        <p:spPr/>
        <p:txBody>
          <a:bodyPr/>
          <a:lstStyle/>
          <a:p>
            <a:endParaRPr lang="da-DK" dirty="0"/>
          </a:p>
        </p:txBody>
      </p:sp>
      <p:sp>
        <p:nvSpPr>
          <p:cNvPr id="7" name="Footer Placeholder 6">
            <a:extLst>
              <a:ext uri="{FF2B5EF4-FFF2-40B4-BE49-F238E27FC236}">
                <a16:creationId xmlns:a16="http://schemas.microsoft.com/office/drawing/2014/main" id="{36BFBA20-A04F-4594-A01F-992BED746401}"/>
              </a:ext>
            </a:extLst>
          </p:cNvPr>
          <p:cNvSpPr>
            <a:spLocks noGrp="1"/>
          </p:cNvSpPr>
          <p:nvPr>
            <p:ph type="ftr" sz="quarter" idx="34"/>
          </p:nvPr>
        </p:nvSpPr>
        <p:spPr/>
        <p:txBody>
          <a:bodyPr/>
          <a:lstStyle/>
          <a:p>
            <a:r>
              <a:rPr lang="da-DK" dirty="0"/>
              <a:t>CH HKO orientering ved NMI 3 APR 22</a:t>
            </a:r>
          </a:p>
        </p:txBody>
      </p:sp>
      <p:sp>
        <p:nvSpPr>
          <p:cNvPr id="8" name="Slide Number Placeholder 7">
            <a:extLst>
              <a:ext uri="{FF2B5EF4-FFF2-40B4-BE49-F238E27FC236}">
                <a16:creationId xmlns:a16="http://schemas.microsoft.com/office/drawing/2014/main" id="{F750F5DE-5FEA-461A-B683-FE660D6F8983}"/>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3" name="Rectangle 12">
            <a:extLst>
              <a:ext uri="{FF2B5EF4-FFF2-40B4-BE49-F238E27FC236}">
                <a16:creationId xmlns:a16="http://schemas.microsoft.com/office/drawing/2014/main" id="{9FA844AF-277F-41CB-9629-B355E1A2653D}"/>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4" name="Logo">
            <a:extLst>
              <a:ext uri="{FF2B5EF4-FFF2-40B4-BE49-F238E27FC236}">
                <a16:creationId xmlns:a16="http://schemas.microsoft.com/office/drawing/2014/main" id="{B9536424-6059-4015-A641-91AE1D93A39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41783580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4" name="Text Placeholder 28">
            <a:extLst>
              <a:ext uri="{FF2B5EF4-FFF2-40B4-BE49-F238E27FC236}">
                <a16:creationId xmlns:a16="http://schemas.microsoft.com/office/drawing/2014/main" id="{D52E9B85-AD1B-4BF4-B785-EE449AB2D3E4}"/>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5" name="Text Placeholder 30">
            <a:extLst>
              <a:ext uri="{FF2B5EF4-FFF2-40B4-BE49-F238E27FC236}">
                <a16:creationId xmlns:a16="http://schemas.microsoft.com/office/drawing/2014/main" id="{2363F0E7-1401-4D46-B61E-04B2A57927F1}"/>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16" name="Text Placeholder 32">
            <a:extLst>
              <a:ext uri="{FF2B5EF4-FFF2-40B4-BE49-F238E27FC236}">
                <a16:creationId xmlns:a16="http://schemas.microsoft.com/office/drawing/2014/main" id="{EB6F3F16-8CA5-44C3-86CB-22D23EF7E1DA}"/>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17" name="Text Placeholder 34">
            <a:extLst>
              <a:ext uri="{FF2B5EF4-FFF2-40B4-BE49-F238E27FC236}">
                <a16:creationId xmlns:a16="http://schemas.microsoft.com/office/drawing/2014/main" id="{C500833E-1F69-4708-A593-65CDD0514FC7}"/>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18" name="Text Placeholder 36">
            <a:extLst>
              <a:ext uri="{FF2B5EF4-FFF2-40B4-BE49-F238E27FC236}">
                <a16:creationId xmlns:a16="http://schemas.microsoft.com/office/drawing/2014/main" id="{C403A39A-5C2C-478B-A633-4C3BF256DD6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DBB065B0-9068-4F01-A9C2-1C1D8766EE10}"/>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5" name="Date Placeholder 4">
            <a:extLst>
              <a:ext uri="{FF2B5EF4-FFF2-40B4-BE49-F238E27FC236}">
                <a16:creationId xmlns:a16="http://schemas.microsoft.com/office/drawing/2014/main" id="{394B055C-CE15-4BB9-8129-ABCBD4CCF2D3}"/>
              </a:ext>
            </a:extLst>
          </p:cNvPr>
          <p:cNvSpPr>
            <a:spLocks noGrp="1"/>
          </p:cNvSpPr>
          <p:nvPr>
            <p:ph type="dt" sz="half" idx="33"/>
          </p:nvPr>
        </p:nvSpPr>
        <p:spPr/>
        <p:txBody>
          <a:bodyPr/>
          <a:lstStyle/>
          <a:p>
            <a:endParaRPr lang="da-DK" dirty="0"/>
          </a:p>
        </p:txBody>
      </p:sp>
      <p:sp>
        <p:nvSpPr>
          <p:cNvPr id="6" name="Footer Placeholder 5">
            <a:extLst>
              <a:ext uri="{FF2B5EF4-FFF2-40B4-BE49-F238E27FC236}">
                <a16:creationId xmlns:a16="http://schemas.microsoft.com/office/drawing/2014/main" id="{055A9DBD-15AE-4490-8673-EEC5BB571FB1}"/>
              </a:ext>
            </a:extLst>
          </p:cNvPr>
          <p:cNvSpPr>
            <a:spLocks noGrp="1"/>
          </p:cNvSpPr>
          <p:nvPr>
            <p:ph type="ftr" sz="quarter" idx="34"/>
          </p:nvPr>
        </p:nvSpPr>
        <p:spPr/>
        <p:txBody>
          <a:bodyPr/>
          <a:lstStyle/>
          <a:p>
            <a:r>
              <a:rPr lang="da-DK" dirty="0"/>
              <a:t>CH HKO orientering ved NMI 3 APR 22</a:t>
            </a:r>
          </a:p>
        </p:txBody>
      </p:sp>
      <p:sp>
        <p:nvSpPr>
          <p:cNvPr id="7" name="Slide Number Placeholder 6">
            <a:extLst>
              <a:ext uri="{FF2B5EF4-FFF2-40B4-BE49-F238E27FC236}">
                <a16:creationId xmlns:a16="http://schemas.microsoft.com/office/drawing/2014/main" id="{9621EFCD-3C0A-4C54-B5CF-BABC64BD0D64}"/>
              </a:ext>
            </a:extLst>
          </p:cNvPr>
          <p:cNvSpPr>
            <a:spLocks noGrp="1"/>
          </p:cNvSpPr>
          <p:nvPr>
            <p:ph type="sldNum" sz="quarter" idx="35"/>
          </p:nvPr>
        </p:nvSpPr>
        <p:spPr/>
        <p:txBody>
          <a:bodyPr wrap="none"/>
          <a:lstStyle/>
          <a:p>
            <a:fld id="{E1EA47C5-00F7-4308-9CB9-463B1A6058F9}" type="slidenum">
              <a:rPr lang="da-DK" smtClean="0"/>
              <a:pPr/>
              <a:t>‹nr.›</a:t>
            </a:fld>
            <a:endParaRPr lang="da-DK" dirty="0"/>
          </a:p>
        </p:txBody>
      </p:sp>
      <p:sp>
        <p:nvSpPr>
          <p:cNvPr id="12" name="Rectangle 11">
            <a:extLst>
              <a:ext uri="{FF2B5EF4-FFF2-40B4-BE49-F238E27FC236}">
                <a16:creationId xmlns:a16="http://schemas.microsoft.com/office/drawing/2014/main" id="{3AC0BF6B-6255-482D-A0E8-0B6D45150E21}"/>
              </a:ext>
            </a:extLst>
          </p:cNvPr>
          <p:cNvSpPr/>
          <p:nvPr userDrawn="1"/>
        </p:nvSpPr>
        <p:spPr>
          <a:xfrm>
            <a:off x="11083795" y="6319767"/>
            <a:ext cx="45732" cy="372256"/>
          </a:xfrm>
          <a:prstGeom prst="rect">
            <a:avLst/>
          </a:prstGeom>
          <a:solidFill>
            <a:srgbClr val="597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a:p>
        </p:txBody>
      </p:sp>
      <p:pic>
        <p:nvPicPr>
          <p:cNvPr id="13" name="Logo">
            <a:extLst>
              <a:ext uri="{FF2B5EF4-FFF2-40B4-BE49-F238E27FC236}">
                <a16:creationId xmlns:a16="http://schemas.microsoft.com/office/drawing/2014/main" id="{BA0295FC-1F3A-4FE5-A226-522EEF4310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4092" y="180346"/>
            <a:ext cx="3396606" cy="536400"/>
          </a:xfrm>
          <a:prstGeom prst="rect">
            <a:avLst/>
          </a:prstGeom>
        </p:spPr>
      </p:pic>
    </p:spTree>
    <p:extLst>
      <p:ext uri="{BB962C8B-B14F-4D97-AF65-F5344CB8AC3E}">
        <p14:creationId xmlns:p14="http://schemas.microsoft.com/office/powerpoint/2010/main" val="27870149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fslutning">
    <p:bg>
      <p:bgPr>
        <a:solidFill>
          <a:schemeClr val="bg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801900" y="5324723"/>
            <a:ext cx="288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gadeadresse</a:t>
            </a:r>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801897" y="5437050"/>
            <a:ext cx="288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postnummer og by</a:t>
            </a:r>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801897" y="5751734"/>
            <a:ext cx="2880003"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801898" y="5862923"/>
            <a:ext cx="2880004" cy="108000"/>
          </a:xfrm>
        </p:spPr>
        <p:txBody>
          <a:bodyPr anchor="ctr" anchorCtr="0"/>
          <a:lstStyle>
            <a:lvl1pPr marL="0" indent="0">
              <a:lnSpc>
                <a:spcPct val="100000"/>
              </a:lnSpc>
              <a:spcBef>
                <a:spcPts val="0"/>
              </a:spcBef>
              <a:buNone/>
              <a:tabLst>
                <a:tab pos="406806"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e-mail adresse</a:t>
            </a:r>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801898" y="5970584"/>
            <a:ext cx="2880004"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err="1"/>
              <a:t>Indæt</a:t>
            </a:r>
            <a:r>
              <a:rPr lang="da-DK" dirty="0"/>
              <a:t> www-adresse</a:t>
            </a:r>
          </a:p>
        </p:txBody>
      </p:sp>
      <p:sp>
        <p:nvSpPr>
          <p:cNvPr id="18" name="Text Placeholder 28">
            <a:extLst>
              <a:ext uri="{FF2B5EF4-FFF2-40B4-BE49-F238E27FC236}">
                <a16:creationId xmlns:a16="http://schemas.microsoft.com/office/drawing/2014/main" id="{A341E85D-A666-4A4C-8890-D74D58046B19}"/>
              </a:ext>
            </a:extLst>
          </p:cNvPr>
          <p:cNvSpPr>
            <a:spLocks noGrp="1"/>
          </p:cNvSpPr>
          <p:nvPr>
            <p:ph type="body" sz="quarter" idx="41" hasCustomPrompt="1"/>
          </p:nvPr>
        </p:nvSpPr>
        <p:spPr>
          <a:xfrm>
            <a:off x="4173487" y="90000"/>
            <a:ext cx="3845802" cy="176400"/>
          </a:xfrm>
        </p:spPr>
        <p:txBody>
          <a:bodyPr anchor="b" anchorCtr="0"/>
          <a:lstStyle>
            <a:lvl1pPr marL="0" indent="0" algn="ctr">
              <a:lnSpc>
                <a:spcPct val="100000"/>
              </a:lnSpc>
              <a:spcBef>
                <a:spcPts val="0"/>
              </a:spcBef>
              <a:buNone/>
              <a:defRPr sz="1000" cap="all" baseline="0"/>
            </a:lvl1pPr>
            <a:lvl2pPr marL="0" indent="0">
              <a:lnSpc>
                <a:spcPct val="100000"/>
              </a:lnSpc>
              <a:spcBef>
                <a:spcPts val="0"/>
              </a:spcBef>
              <a:buNone/>
              <a:defRPr sz="1000" cap="all" baseline="0"/>
            </a:lvl2pPr>
            <a:lvl3pPr marL="0" indent="0">
              <a:lnSpc>
                <a:spcPct val="100000"/>
              </a:lnSpc>
              <a:spcBef>
                <a:spcPts val="0"/>
              </a:spcBef>
              <a:buNone/>
              <a:defRPr sz="1000" cap="all" baseline="0"/>
            </a:lvl3pPr>
            <a:lvl4pPr marL="0" indent="0">
              <a:lnSpc>
                <a:spcPct val="100000"/>
              </a:lnSpc>
              <a:spcBef>
                <a:spcPts val="0"/>
              </a:spcBef>
              <a:buNone/>
              <a:defRPr sz="1000" cap="all" baseline="0"/>
            </a:lvl4pPr>
            <a:lvl5pPr marL="0" indent="0">
              <a:lnSpc>
                <a:spcPct val="100000"/>
              </a:lnSpc>
              <a:spcBef>
                <a:spcPts val="0"/>
              </a:spcBef>
              <a:buNone/>
              <a:defRPr sz="1000" cap="all" baseline="0"/>
            </a:lvl5pPr>
          </a:lstStyle>
          <a:p>
            <a:pPr lvl="0"/>
            <a:r>
              <a:rPr lang="da-DK" dirty="0"/>
              <a:t>Klik for at tilføje Tekst (tjenestebrug)</a:t>
            </a:r>
          </a:p>
        </p:txBody>
      </p:sp>
      <p:sp>
        <p:nvSpPr>
          <p:cNvPr id="19" name="Text Placeholder 30">
            <a:extLst>
              <a:ext uri="{FF2B5EF4-FFF2-40B4-BE49-F238E27FC236}">
                <a16:creationId xmlns:a16="http://schemas.microsoft.com/office/drawing/2014/main" id="{1A0D38EB-5C11-48F2-8A6C-60A10B7F075A}"/>
              </a:ext>
            </a:extLst>
          </p:cNvPr>
          <p:cNvSpPr>
            <a:spLocks noGrp="1"/>
          </p:cNvSpPr>
          <p:nvPr>
            <p:ph type="body" sz="quarter" idx="42" hasCustomPrompt="1"/>
          </p:nvPr>
        </p:nvSpPr>
        <p:spPr>
          <a:xfrm>
            <a:off x="4173487" y="248400"/>
            <a:ext cx="3845802" cy="126000"/>
          </a:xfrm>
        </p:spPr>
        <p:txBody>
          <a:bodyPr anchor="ctr" anchorCtr="0"/>
          <a:lstStyle>
            <a:lvl1pPr marL="0" indent="0" algn="ctr">
              <a:lnSpc>
                <a:spcPct val="100000"/>
              </a:lnSpc>
              <a:spcBef>
                <a:spcPts val="0"/>
              </a:spcBef>
              <a:buNone/>
              <a:defRPr sz="700" cap="all" baseline="0"/>
            </a:lvl1pPr>
            <a:lvl2pPr marL="0" indent="0" algn="ctr">
              <a:lnSpc>
                <a:spcPct val="100000"/>
              </a:lnSpc>
              <a:spcBef>
                <a:spcPts val="0"/>
              </a:spcBef>
              <a:buNone/>
              <a:defRPr sz="700" cap="all" baseline="0"/>
            </a:lvl2pPr>
            <a:lvl3pPr marL="0" indent="0" algn="ctr">
              <a:lnSpc>
                <a:spcPct val="100000"/>
              </a:lnSpc>
              <a:spcBef>
                <a:spcPts val="0"/>
              </a:spcBef>
              <a:buNone/>
              <a:defRPr sz="700" cap="all" baseline="0"/>
            </a:lvl3pPr>
            <a:lvl4pPr marL="0" indent="0" algn="ctr">
              <a:lnSpc>
                <a:spcPct val="100000"/>
              </a:lnSpc>
              <a:spcBef>
                <a:spcPts val="0"/>
              </a:spcBef>
              <a:buNone/>
              <a:defRPr sz="700" cap="all" baseline="0"/>
            </a:lvl4pPr>
            <a:lvl5pPr marL="0" indent="0" algn="ctr">
              <a:lnSpc>
                <a:spcPct val="100000"/>
              </a:lnSpc>
              <a:spcBef>
                <a:spcPts val="0"/>
              </a:spcBef>
              <a:buNone/>
              <a:defRPr sz="700" cap="all" baseline="0"/>
            </a:lvl5pPr>
          </a:lstStyle>
          <a:p>
            <a:pPr lvl="0"/>
            <a:r>
              <a:rPr lang="da-DK" dirty="0"/>
              <a:t>Klik for at tilføje tekst (AFKLASSIFICERET XXXX-XX-XX)</a:t>
            </a:r>
          </a:p>
        </p:txBody>
      </p:sp>
      <p:sp>
        <p:nvSpPr>
          <p:cNvPr id="26" name="Text Placeholder 32">
            <a:extLst>
              <a:ext uri="{FF2B5EF4-FFF2-40B4-BE49-F238E27FC236}">
                <a16:creationId xmlns:a16="http://schemas.microsoft.com/office/drawing/2014/main" id="{D98296BF-84B9-4F48-B0CD-AD253331071E}"/>
              </a:ext>
            </a:extLst>
          </p:cNvPr>
          <p:cNvSpPr>
            <a:spLocks noGrp="1"/>
          </p:cNvSpPr>
          <p:nvPr>
            <p:ph type="body" sz="quarter" idx="43" hasCustomPrompt="1"/>
          </p:nvPr>
        </p:nvSpPr>
        <p:spPr>
          <a:xfrm>
            <a:off x="4173487" y="360000"/>
            <a:ext cx="3845802" cy="176400"/>
          </a:xfrm>
        </p:spPr>
        <p:txBody>
          <a:bodyPr/>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Brug)</a:t>
            </a:r>
          </a:p>
        </p:txBody>
      </p:sp>
      <p:sp>
        <p:nvSpPr>
          <p:cNvPr id="27" name="Text Placeholder 34">
            <a:extLst>
              <a:ext uri="{FF2B5EF4-FFF2-40B4-BE49-F238E27FC236}">
                <a16:creationId xmlns:a16="http://schemas.microsoft.com/office/drawing/2014/main" id="{ED37C21B-F4CF-40C9-9395-43DEEF372B73}"/>
              </a:ext>
            </a:extLst>
          </p:cNvPr>
          <p:cNvSpPr>
            <a:spLocks noGrp="1"/>
          </p:cNvSpPr>
          <p:nvPr>
            <p:ph type="body" sz="quarter" idx="44" hasCustomPrompt="1"/>
          </p:nvPr>
        </p:nvSpPr>
        <p:spPr>
          <a:xfrm>
            <a:off x="4173487" y="6278400"/>
            <a:ext cx="3845802" cy="176400"/>
          </a:xfrm>
        </p:spPr>
        <p:txBody>
          <a:bodyPr anchor="b" anchorCtr="0"/>
          <a:lstStyle>
            <a:lvl1pPr marL="0" indent="0" algn="ctr">
              <a:lnSpc>
                <a:spcPct val="100000"/>
              </a:lnSpc>
              <a:spcBef>
                <a:spcPts val="0"/>
              </a:spcBef>
              <a:buNone/>
              <a:defRPr sz="1000" cap="all" baseline="0"/>
            </a:lvl1pPr>
            <a:lvl2pPr marL="0" indent="0" algn="ctr">
              <a:lnSpc>
                <a:spcPct val="100000"/>
              </a:lnSpc>
              <a:spcBef>
                <a:spcPts val="0"/>
              </a:spcBef>
              <a:buNone/>
              <a:defRPr sz="1000" cap="all" baseline="0"/>
            </a:lvl2pPr>
            <a:lvl3pPr marL="0" indent="0" algn="ctr">
              <a:lnSpc>
                <a:spcPct val="100000"/>
              </a:lnSpc>
              <a:spcBef>
                <a:spcPts val="0"/>
              </a:spcBef>
              <a:buNone/>
              <a:defRPr sz="1000" cap="all" baseline="0"/>
            </a:lvl3pPr>
            <a:lvl4pPr marL="0" indent="0" algn="ctr">
              <a:lnSpc>
                <a:spcPct val="100000"/>
              </a:lnSpc>
              <a:spcBef>
                <a:spcPts val="0"/>
              </a:spcBef>
              <a:buNone/>
              <a:defRPr sz="1000" cap="all" baseline="0"/>
            </a:lvl4pPr>
            <a:lvl5pPr marL="0" indent="0" algn="ctr">
              <a:lnSpc>
                <a:spcPct val="100000"/>
              </a:lnSpc>
              <a:spcBef>
                <a:spcPts val="0"/>
              </a:spcBef>
              <a:buNone/>
              <a:defRPr sz="1000" cap="all" baseline="0"/>
            </a:lvl5pPr>
          </a:lstStyle>
          <a:p>
            <a:pPr lvl="0"/>
            <a:r>
              <a:rPr lang="da-DK" dirty="0"/>
              <a:t>Klik for at tilføje Tekst (tjenestebrug)</a:t>
            </a:r>
          </a:p>
        </p:txBody>
      </p:sp>
      <p:sp>
        <p:nvSpPr>
          <p:cNvPr id="28" name="Text Placeholder 36">
            <a:extLst>
              <a:ext uri="{FF2B5EF4-FFF2-40B4-BE49-F238E27FC236}">
                <a16:creationId xmlns:a16="http://schemas.microsoft.com/office/drawing/2014/main" id="{772CFEF8-8F57-4ED9-812C-1580BCFF95E2}"/>
              </a:ext>
            </a:extLst>
          </p:cNvPr>
          <p:cNvSpPr>
            <a:spLocks noGrp="1"/>
          </p:cNvSpPr>
          <p:nvPr>
            <p:ph type="body" sz="quarter" idx="45" hasCustomPrompt="1"/>
          </p:nvPr>
        </p:nvSpPr>
        <p:spPr>
          <a:xfrm>
            <a:off x="4173487" y="6433200"/>
            <a:ext cx="3845802" cy="126000"/>
          </a:xfrm>
        </p:spPr>
        <p:txBody>
          <a:bodyPr anchor="ctr" anchorCtr="0"/>
          <a:lstStyle>
            <a:lvl1pPr marL="0" indent="0" algn="ctr" defTabSz="179388">
              <a:lnSpc>
                <a:spcPct val="100000"/>
              </a:lnSpc>
              <a:spcBef>
                <a:spcPts val="0"/>
              </a:spcBef>
              <a:buNone/>
              <a:defRPr sz="700" cap="all" baseline="0"/>
            </a:lvl1pPr>
            <a:lvl2pPr marL="0" indent="0" algn="ctr" defTabSz="179388">
              <a:lnSpc>
                <a:spcPct val="100000"/>
              </a:lnSpc>
              <a:spcBef>
                <a:spcPts val="0"/>
              </a:spcBef>
              <a:buNone/>
              <a:defRPr sz="700" cap="all" baseline="0"/>
            </a:lvl2pPr>
            <a:lvl3pPr marL="0" indent="0" algn="ctr" defTabSz="179388">
              <a:lnSpc>
                <a:spcPct val="100000"/>
              </a:lnSpc>
              <a:spcBef>
                <a:spcPts val="0"/>
              </a:spcBef>
              <a:buNone/>
              <a:defRPr sz="700" cap="all" baseline="0"/>
            </a:lvl3pPr>
            <a:lvl4pPr marL="0" indent="0" algn="ctr" defTabSz="179388">
              <a:lnSpc>
                <a:spcPct val="100000"/>
              </a:lnSpc>
              <a:spcBef>
                <a:spcPts val="0"/>
              </a:spcBef>
              <a:buNone/>
              <a:defRPr sz="700" cap="all" baseline="0"/>
            </a:lvl4pPr>
            <a:lvl5pPr marL="0" indent="0" algn="ctr" defTabSz="179388">
              <a:lnSpc>
                <a:spcPct val="100000"/>
              </a:lnSpc>
              <a:spcBef>
                <a:spcPts val="0"/>
              </a:spcBef>
              <a:buNone/>
              <a:defRPr sz="700" cap="all" baseline="0"/>
            </a:lvl5pPr>
          </a:lstStyle>
          <a:p>
            <a:pPr lvl="0"/>
            <a:r>
              <a:rPr lang="da-DK" dirty="0"/>
              <a:t>Klik for at tilføje tekst (AFKLASSIFICERET XXXX-XX-XX)</a:t>
            </a:r>
          </a:p>
        </p:txBody>
      </p:sp>
      <p:sp>
        <p:nvSpPr>
          <p:cNvPr id="30" name="Text Placeholder 38">
            <a:extLst>
              <a:ext uri="{FF2B5EF4-FFF2-40B4-BE49-F238E27FC236}">
                <a16:creationId xmlns:a16="http://schemas.microsoft.com/office/drawing/2014/main" id="{82A36E98-8BE9-4D59-B6B7-D7964BE3D6DB}"/>
              </a:ext>
            </a:extLst>
          </p:cNvPr>
          <p:cNvSpPr>
            <a:spLocks noGrp="1"/>
          </p:cNvSpPr>
          <p:nvPr>
            <p:ph type="body" sz="quarter" idx="46" hasCustomPrompt="1"/>
          </p:nvPr>
        </p:nvSpPr>
        <p:spPr>
          <a:xfrm>
            <a:off x="4173487" y="6544800"/>
            <a:ext cx="3845802" cy="176400"/>
          </a:xfrm>
        </p:spPr>
        <p:txBody>
          <a:bodyPr/>
          <a:lstStyle>
            <a:lvl1pPr marL="0" indent="0" algn="ctr">
              <a:lnSpc>
                <a:spcPct val="100000"/>
              </a:lnSpc>
              <a:spcBef>
                <a:spcPts val="0"/>
              </a:spcBef>
              <a:buNone/>
              <a:defRPr sz="1000" cap="all" baseline="0">
                <a:solidFill>
                  <a:schemeClr val="tx1"/>
                </a:solidFill>
              </a:defRPr>
            </a:lvl1pPr>
            <a:lvl2pPr marL="0" indent="0" algn="ctr">
              <a:buNone/>
              <a:defRPr sz="1000" cap="all" baseline="0">
                <a:solidFill>
                  <a:schemeClr val="tx1"/>
                </a:solidFill>
              </a:defRPr>
            </a:lvl2pPr>
            <a:lvl3pPr marL="0" indent="0" algn="ctr">
              <a:buNone/>
              <a:defRPr sz="1000" cap="all" baseline="0">
                <a:solidFill>
                  <a:schemeClr val="tx1"/>
                </a:solidFill>
              </a:defRPr>
            </a:lvl3pPr>
            <a:lvl4pPr marL="0" indent="0" algn="ctr">
              <a:buNone/>
              <a:defRPr sz="1000" cap="all" baseline="0">
                <a:solidFill>
                  <a:schemeClr val="tx1"/>
                </a:solidFill>
              </a:defRPr>
            </a:lvl4pPr>
            <a:lvl5pPr marL="0" indent="0" algn="ctr">
              <a:buNone/>
              <a:defRPr sz="1000" cap="all" baseline="0">
                <a:solidFill>
                  <a:schemeClr val="tx1"/>
                </a:solidFill>
              </a:defRPr>
            </a:lvl5pPr>
          </a:lstStyle>
          <a:p>
            <a:pPr lvl="0"/>
            <a:r>
              <a:rPr lang="da-DK" dirty="0"/>
              <a:t>Klik for at tilføje tekst (Brug)</a:t>
            </a:r>
          </a:p>
        </p:txBody>
      </p:sp>
      <p:sp>
        <p:nvSpPr>
          <p:cNvPr id="8" name="Date Placeholder 2" hidden="1">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9" name="Footer Placeholder 3" hidden="1">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noFill/>
              </a:defRPr>
            </a:lvl1pPr>
          </a:lstStyle>
          <a:p>
            <a:r>
              <a:rPr lang="da-DK" dirty="0"/>
              <a:t>CH HKO orientering ved NMI 3 APR 22</a:t>
            </a:r>
          </a:p>
        </p:txBody>
      </p:sp>
      <p:sp>
        <p:nvSpPr>
          <p:cNvPr id="10" name="Slide Number Placeholder 4" hidden="1">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pic>
        <p:nvPicPr>
          <p:cNvPr id="17" name="LogoEnd">
            <a:extLst>
              <a:ext uri="{FF2B5EF4-FFF2-40B4-BE49-F238E27FC236}">
                <a16:creationId xmlns:a16="http://schemas.microsoft.com/office/drawing/2014/main" id="{D938A296-E57A-445D-ADDF-941A5DFB3C5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7548" y="4653650"/>
            <a:ext cx="3506953" cy="553826"/>
          </a:xfrm>
          <a:prstGeom prst="rect">
            <a:avLst/>
          </a:prstGeom>
        </p:spPr>
      </p:pic>
    </p:spTree>
    <p:extLst>
      <p:ext uri="{BB962C8B-B14F-4D97-AF65-F5344CB8AC3E}">
        <p14:creationId xmlns:p14="http://schemas.microsoft.com/office/powerpoint/2010/main" val="3813553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20.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29.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29.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heme" Target="../theme/theme5.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image" Target="../media/image20.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6.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image" Target="../media/image29.png"/><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20.png"/><Relationship Id="rId2" Type="http://schemas.openxmlformats.org/officeDocument/2006/relationships/slideLayout" Target="../slideLayouts/slideLayout118.xml"/><Relationship Id="rId16" Type="http://schemas.openxmlformats.org/officeDocument/2006/relationships/theme" Target="../theme/theme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1007539" y="1150633"/>
            <a:ext cx="10706097"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1007551" y="2331557"/>
            <a:ext cx="10703983"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8220909" y="6420474"/>
            <a:ext cx="2988644" cy="146223"/>
          </a:xfrm>
          <a:prstGeom prst="rect">
            <a:avLst/>
          </a:prstGeom>
        </p:spPr>
        <p:txBody>
          <a:bodyPr vert="horz" lIns="0" tIns="0" rIns="0" bIns="0" rtlCol="0" anchor="b" anchorCtr="0"/>
          <a:lstStyle>
            <a:lvl1pPr algn="r">
              <a:defRPr sz="700" b="1">
                <a:solidFill>
                  <a:schemeClr val="tx1"/>
                </a:solidFill>
              </a:defRPr>
            </a:lvl1pPr>
          </a:lstStyle>
          <a:p>
            <a:endParaRPr lang="en-GB" dirty="0">
              <a:solidFill>
                <a:prstClr val="black"/>
              </a:solidFill>
            </a:endParaRPr>
          </a:p>
        </p:txBody>
      </p:sp>
      <p:sp>
        <p:nvSpPr>
          <p:cNvPr id="4" name="Date_GeneralDate"/>
          <p:cNvSpPr>
            <a:spLocks noGrp="1"/>
          </p:cNvSpPr>
          <p:nvPr>
            <p:ph type="dt" sz="half" idx="2"/>
          </p:nvPr>
        </p:nvSpPr>
        <p:spPr>
          <a:xfrm>
            <a:off x="8220909" y="6571531"/>
            <a:ext cx="2988644" cy="108000"/>
          </a:xfrm>
          <a:prstGeom prst="rect">
            <a:avLst/>
          </a:prstGeom>
        </p:spPr>
        <p:txBody>
          <a:bodyPr vert="horz" wrap="square" lIns="0" tIns="0" rIns="0" bIns="0" rtlCol="0" anchor="ctr" anchorCtr="0"/>
          <a:lstStyle>
            <a:lvl1pPr algn="r">
              <a:defRPr sz="700">
                <a:solidFill>
                  <a:schemeClr val="tx1"/>
                </a:solidFill>
              </a:defRPr>
            </a:lvl1p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8" name="Picture 4"/>
          <p:cNvPicPr>
            <a:picLocks noChangeAspect="1" noChangeArrowheads="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461048" y="6133374"/>
            <a:ext cx="426169" cy="408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1672057"/>
      </p:ext>
    </p:extLst>
  </p:cSld>
  <p:clrMap bg1="lt1" tx1="dk1" bg2="lt2" tx2="dk2" accent1="accent1" accent2="accent2" accent3="accent3" accent4="accent4" accent5="accent5" accent6="accent6" hlink="hlink" folHlink="folHlink"/>
  <p:sldLayoutIdLst>
    <p:sldLayoutId id="2147483661" r:id="rId1"/>
    <p:sldLayoutId id="2147483680" r:id="rId2"/>
    <p:sldLayoutId id="2147483681" r:id="rId3"/>
    <p:sldLayoutId id="2147483682" r:id="rId4"/>
    <p:sldLayoutId id="2147483683"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5" r:id="rId18"/>
    <p:sldLayoutId id="2147483676" r:id="rId19"/>
    <p:sldLayoutId id="2147483677" r:id="rId20"/>
    <p:sldLayoutId id="2147483678" r:id="rId21"/>
    <p:sldLayoutId id="2147483679" r:id="rId22"/>
  </p:sldLayoutIdLst>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288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1pPr>
      <a:lvl2pPr marL="576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2pPr>
      <a:lvl3pPr marL="864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3pPr>
      <a:lvl4pPr marL="864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50000"/>
        </a:lnSpc>
        <a:spcBef>
          <a:spcPts val="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8pPr>
      <a:lvl9pPr marL="864000" indent="-288000" algn="l" defTabSz="685800" rtl="0" eaLnBrk="1" latinLnBrk="0" hangingPunct="1">
        <a:lnSpc>
          <a:spcPct val="150000"/>
        </a:lnSpc>
        <a:spcBef>
          <a:spcPts val="0"/>
        </a:spcBef>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7" y="1528348"/>
            <a:ext cx="10592967"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757" y="2500627"/>
            <a:ext cx="10595347"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endParaRPr lang="en-GB" dirty="0"/>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4. februar 2025</a:t>
            </a:fld>
            <a:endParaRPr lang="en-GB"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6" y="6514880"/>
            <a:ext cx="373315"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sp>
        <p:nvSpPr>
          <p:cNvPr id="9" name="TextBox 8">
            <a:extLst>
              <a:ext uri="{FF2B5EF4-FFF2-40B4-BE49-F238E27FC236}">
                <a16:creationId xmlns:a16="http://schemas.microsoft.com/office/drawing/2014/main" id="{549BFBCF-42F8-4B85-A1A5-7895951B1BAE}"/>
              </a:ext>
            </a:extLst>
          </p:cNvPr>
          <p:cNvSpPr txBox="1"/>
          <p:nvPr/>
        </p:nvSpPr>
        <p:spPr>
          <a:xfrm>
            <a:off x="6637107" y="6895483"/>
            <a:ext cx="5123814" cy="492443"/>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på fanen </a:t>
            </a:r>
            <a:r>
              <a:rPr lang="da-DK" sz="800" b="1" noProof="1"/>
              <a:t>Vis</a:t>
            </a:r>
            <a:r>
              <a:rPr lang="da-DK" sz="800" b="0" noProof="1"/>
              <a:t>, vælg </a:t>
            </a:r>
            <a:r>
              <a:rPr lang="da-DK" sz="800" b="1" noProof="1"/>
              <a:t>Diasmaster. </a:t>
            </a:r>
            <a:r>
              <a:rPr lang="da-DK" sz="800" b="0" noProof="1"/>
              <a:t>Klik på det øverste layout, </a:t>
            </a:r>
            <a:r>
              <a:rPr lang="da-DK" sz="800" b="1" noProof="1"/>
              <a:t>FKO Diasmaster</a:t>
            </a:r>
            <a:r>
              <a:rPr lang="da-DK" sz="800" b="0" noProof="1"/>
              <a:t>.</a:t>
            </a:r>
            <a:r>
              <a:rPr lang="da-DK" sz="800" b="1" noProof="1"/>
              <a:t> </a:t>
            </a:r>
            <a:br>
              <a:rPr lang="da-DK" sz="800" b="1" noProof="1"/>
            </a:br>
            <a:r>
              <a:rPr lang="da-DK" sz="800" noProof="1"/>
              <a:t>Højreklik på den usynlige kasse til venstre for sidenr og vælg </a:t>
            </a:r>
            <a:r>
              <a:rPr lang="da-DK" sz="800" b="1" noProof="1"/>
              <a:t>Udskift billede</a:t>
            </a:r>
            <a:r>
              <a:rPr lang="da-DK" sz="800" noProof="1"/>
              <a:t>, find mærke.</a:t>
            </a:r>
            <a:br>
              <a:rPr lang="da-DK" sz="800" noProof="1"/>
            </a:br>
            <a:r>
              <a:rPr lang="da-DK" sz="800" noProof="1"/>
              <a:t>Klik på</a:t>
            </a:r>
            <a:r>
              <a:rPr lang="da-DK" sz="800" b="1" noProof="1"/>
              <a:t> Luk mastervisning</a:t>
            </a:r>
            <a:r>
              <a:rPr lang="da-DK" sz="800" b="0" noProof="1"/>
              <a:t>.</a:t>
            </a:r>
          </a:p>
        </p:txBody>
      </p:sp>
      <p:pic>
        <p:nvPicPr>
          <p:cNvPr id="11" name="Indsæt mærke eller ta bort">
            <a:extLst>
              <a:ext uri="{FF2B5EF4-FFF2-40B4-BE49-F238E27FC236}">
                <a16:creationId xmlns:a16="http://schemas.microsoft.com/office/drawing/2014/main" id="{5F8A473A-6C8A-4FC7-BE5F-4018C433BCFF}"/>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199162" y="6301801"/>
            <a:ext cx="345473" cy="420660"/>
          </a:xfrm>
          <a:prstGeom prst="rect">
            <a:avLst/>
          </a:prstGeom>
        </p:spPr>
      </p:pic>
    </p:spTree>
    <p:extLst>
      <p:ext uri="{BB962C8B-B14F-4D97-AF65-F5344CB8AC3E}">
        <p14:creationId xmlns:p14="http://schemas.microsoft.com/office/powerpoint/2010/main" val="340314811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7" y="1528348"/>
            <a:ext cx="10592967" cy="802103"/>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794759" y="2500628"/>
            <a:ext cx="10595346" cy="3503299"/>
          </a:xfrm>
          <a:prstGeom prst="rect">
            <a:avLst/>
          </a:prstGeom>
        </p:spPr>
        <p:txBody>
          <a:bodyPr vert="horz" lIns="0" tIns="0" rIns="0" bIns="0" rtlCol="0">
            <a:noAutofit/>
          </a:bodyPr>
          <a:lstStyle/>
          <a:p>
            <a:pPr lvl="0"/>
            <a:r>
              <a:rPr lang="da-DK" noProof="0"/>
              <a:t>Rediger typografien i masterens</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endParaRPr lang="da-DK" dirty="0"/>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4. februar 2025</a:t>
            </a:fld>
            <a:endParaRPr lang="da-DK"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6" y="6514881"/>
            <a:ext cx="373314" cy="208123"/>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userDrawn="1"/>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3710" y="6301802"/>
            <a:ext cx="396377" cy="420660"/>
          </a:xfrm>
          <a:prstGeom prst="rect">
            <a:avLst/>
          </a:prstGeom>
        </p:spPr>
      </p:pic>
      <p:sp>
        <p:nvSpPr>
          <p:cNvPr id="15" name="TextBox 14">
            <a:extLst>
              <a:ext uri="{FF2B5EF4-FFF2-40B4-BE49-F238E27FC236}">
                <a16:creationId xmlns:a16="http://schemas.microsoft.com/office/drawing/2014/main" id="{2280A77A-900E-446B-95BC-771ACDAB41B8}"/>
              </a:ext>
            </a:extLst>
          </p:cNvPr>
          <p:cNvSpPr txBox="1"/>
          <p:nvPr userDrawn="1"/>
        </p:nvSpPr>
        <p:spPr>
          <a:xfrm>
            <a:off x="6801572" y="6895483"/>
            <a:ext cx="4891330" cy="369332"/>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a:t>
            </a:r>
            <a:r>
              <a:rPr lang="da-DK" sz="800" b="1" noProof="1"/>
              <a:t>VIS</a:t>
            </a:r>
            <a:r>
              <a:rPr lang="da-DK" sz="800" b="0" noProof="1"/>
              <a:t>, vælg </a:t>
            </a:r>
            <a:r>
              <a:rPr lang="da-DK" sz="800" b="1" noProof="1"/>
              <a:t>Dias Master. </a:t>
            </a:r>
            <a:r>
              <a:rPr lang="da-DK" sz="800" b="0" noProof="1"/>
              <a:t>Klik på </a:t>
            </a:r>
            <a:r>
              <a:rPr lang="da-DK" sz="800" b="1" noProof="1"/>
              <a:t>FMN Dias Master</a:t>
            </a:r>
            <a:r>
              <a:rPr lang="da-DK" sz="800" b="0" noProof="1"/>
              <a:t>.</a:t>
            </a:r>
            <a:r>
              <a:rPr lang="da-DK" sz="800" b="1" noProof="1"/>
              <a:t> </a:t>
            </a:r>
            <a:br>
              <a:rPr lang="da-DK" sz="800" b="1" noProof="1"/>
            </a:br>
            <a:r>
              <a:rPr lang="da-DK" sz="800" noProof="1"/>
              <a:t>Højreklik på den usynlige kasse til venstre for sidenr og vælg skift billede, find korrekt mærke. </a:t>
            </a:r>
          </a:p>
        </p:txBody>
      </p:sp>
    </p:spTree>
    <p:extLst>
      <p:ext uri="{BB962C8B-B14F-4D97-AF65-F5344CB8AC3E}">
        <p14:creationId xmlns:p14="http://schemas.microsoft.com/office/powerpoint/2010/main" val="369936172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p:txStyles>
    <p:titleStyle>
      <a:lvl1pPr algn="l" defTabSz="685639" rtl="0" eaLnBrk="1" latinLnBrk="0" hangingPunct="1">
        <a:lnSpc>
          <a:spcPct val="102000"/>
        </a:lnSpc>
        <a:spcBef>
          <a:spcPct val="0"/>
        </a:spcBef>
        <a:buNone/>
        <a:defRPr sz="2799" b="1" kern="1200">
          <a:solidFill>
            <a:schemeClr val="tx1"/>
          </a:solidFill>
          <a:latin typeface="+mj-lt"/>
          <a:ea typeface="+mj-ea"/>
          <a:cs typeface="+mj-cs"/>
        </a:defRPr>
      </a:lvl1pPr>
    </p:titleStyle>
    <p:bodyStyle>
      <a:lvl1pPr marL="341915" indent="-341915" algn="l" defTabSz="685639"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3829" indent="-341915" algn="l" defTabSz="685639"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5744" indent="-341915" algn="l" defTabSz="685639"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5744" indent="-341915" algn="l" defTabSz="685639"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5744" indent="-341915" algn="l" defTabSz="685639"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5744" indent="-341915" algn="l" defTabSz="685639"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5744" indent="-341915" algn="l" defTabSz="685639"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5744" indent="-341915" algn="l" defTabSz="685639"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5744" indent="-341915" algn="l" defTabSz="685639"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639" rtl="0" eaLnBrk="1" latinLnBrk="0" hangingPunct="1">
        <a:defRPr sz="1350" kern="1200">
          <a:solidFill>
            <a:schemeClr val="tx1"/>
          </a:solidFill>
          <a:latin typeface="+mn-lt"/>
          <a:ea typeface="+mn-ea"/>
          <a:cs typeface="+mn-cs"/>
        </a:defRPr>
      </a:lvl1pPr>
      <a:lvl2pPr marL="342821" algn="l" defTabSz="685639" rtl="0" eaLnBrk="1" latinLnBrk="0" hangingPunct="1">
        <a:defRPr sz="1350" kern="1200">
          <a:solidFill>
            <a:schemeClr val="tx1"/>
          </a:solidFill>
          <a:latin typeface="+mn-lt"/>
          <a:ea typeface="+mn-ea"/>
          <a:cs typeface="+mn-cs"/>
        </a:defRPr>
      </a:lvl2pPr>
      <a:lvl3pPr marL="685639" algn="l" defTabSz="685639" rtl="0" eaLnBrk="1" latinLnBrk="0" hangingPunct="1">
        <a:defRPr sz="1350" kern="1200">
          <a:solidFill>
            <a:schemeClr val="tx1"/>
          </a:solidFill>
          <a:latin typeface="+mn-lt"/>
          <a:ea typeface="+mn-ea"/>
          <a:cs typeface="+mn-cs"/>
        </a:defRPr>
      </a:lvl3pPr>
      <a:lvl4pPr marL="1028460" algn="l" defTabSz="685639" rtl="0" eaLnBrk="1" latinLnBrk="0" hangingPunct="1">
        <a:defRPr sz="1350" kern="1200">
          <a:solidFill>
            <a:schemeClr val="tx1"/>
          </a:solidFill>
          <a:latin typeface="+mn-lt"/>
          <a:ea typeface="+mn-ea"/>
          <a:cs typeface="+mn-cs"/>
        </a:defRPr>
      </a:lvl4pPr>
      <a:lvl5pPr marL="1371280" algn="l" defTabSz="685639" rtl="0" eaLnBrk="1" latinLnBrk="0" hangingPunct="1">
        <a:defRPr sz="1350" kern="1200">
          <a:solidFill>
            <a:schemeClr val="tx1"/>
          </a:solidFill>
          <a:latin typeface="+mn-lt"/>
          <a:ea typeface="+mn-ea"/>
          <a:cs typeface="+mn-cs"/>
        </a:defRPr>
      </a:lvl5pPr>
      <a:lvl6pPr marL="1714101" algn="l" defTabSz="685639" rtl="0" eaLnBrk="1" latinLnBrk="0" hangingPunct="1">
        <a:defRPr sz="1350" kern="1200">
          <a:solidFill>
            <a:schemeClr val="tx1"/>
          </a:solidFill>
          <a:latin typeface="+mn-lt"/>
          <a:ea typeface="+mn-ea"/>
          <a:cs typeface="+mn-cs"/>
        </a:defRPr>
      </a:lvl6pPr>
      <a:lvl7pPr marL="2056920" algn="l" defTabSz="685639" rtl="0" eaLnBrk="1" latinLnBrk="0" hangingPunct="1">
        <a:defRPr sz="1350" kern="1200">
          <a:solidFill>
            <a:schemeClr val="tx1"/>
          </a:solidFill>
          <a:latin typeface="+mn-lt"/>
          <a:ea typeface="+mn-ea"/>
          <a:cs typeface="+mn-cs"/>
        </a:defRPr>
      </a:lvl7pPr>
      <a:lvl8pPr marL="2399740" algn="l" defTabSz="685639" rtl="0" eaLnBrk="1" latinLnBrk="0" hangingPunct="1">
        <a:defRPr sz="1350" kern="1200">
          <a:solidFill>
            <a:schemeClr val="tx1"/>
          </a:solidFill>
          <a:latin typeface="+mn-lt"/>
          <a:ea typeface="+mn-ea"/>
          <a:cs typeface="+mn-cs"/>
        </a:defRPr>
      </a:lvl8pPr>
      <a:lvl9pPr marL="2742561" algn="l" defTabSz="68563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8" y="1528348"/>
            <a:ext cx="10592967" cy="802103"/>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794757" y="2500627"/>
            <a:ext cx="10595347" cy="3503299"/>
          </a:xfrm>
          <a:prstGeom prst="rect">
            <a:avLst/>
          </a:prstGeom>
        </p:spPr>
        <p:txBody>
          <a:bodyPr vert="horz" lIns="0" tIns="0" rIns="0" bIns="0" rtlCol="0">
            <a:noAutofit/>
          </a:bodyPr>
          <a:lstStyle/>
          <a:p>
            <a:pPr lvl="0"/>
            <a:r>
              <a:rPr lang="da-DK" noProof="0"/>
              <a:t>Rediger typografien i masterens</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endParaRPr lang="da-DK" dirty="0"/>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4. februar 2025</a:t>
            </a:fld>
            <a:endParaRPr lang="da-DK"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5" y="6514880"/>
            <a:ext cx="373315" cy="208123"/>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userDrawn="1"/>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3710" y="6301802"/>
            <a:ext cx="396377" cy="420660"/>
          </a:xfrm>
          <a:prstGeom prst="rect">
            <a:avLst/>
          </a:prstGeom>
        </p:spPr>
      </p:pic>
      <p:sp>
        <p:nvSpPr>
          <p:cNvPr id="15" name="TextBox 14">
            <a:extLst>
              <a:ext uri="{FF2B5EF4-FFF2-40B4-BE49-F238E27FC236}">
                <a16:creationId xmlns:a16="http://schemas.microsoft.com/office/drawing/2014/main" id="{2280A77A-900E-446B-95BC-771ACDAB41B8}"/>
              </a:ext>
            </a:extLst>
          </p:cNvPr>
          <p:cNvSpPr txBox="1"/>
          <p:nvPr userDrawn="1"/>
        </p:nvSpPr>
        <p:spPr>
          <a:xfrm>
            <a:off x="6801573" y="6895483"/>
            <a:ext cx="4891329" cy="369332"/>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a:t>
            </a:r>
            <a:r>
              <a:rPr lang="da-DK" sz="800" b="1" noProof="1"/>
              <a:t>VIS</a:t>
            </a:r>
            <a:r>
              <a:rPr lang="da-DK" sz="800" b="0" noProof="1"/>
              <a:t>, vælg </a:t>
            </a:r>
            <a:r>
              <a:rPr lang="da-DK" sz="800" b="1" noProof="1"/>
              <a:t>Dias Master. </a:t>
            </a:r>
            <a:r>
              <a:rPr lang="da-DK" sz="800" b="0" noProof="1"/>
              <a:t>Klik på </a:t>
            </a:r>
            <a:r>
              <a:rPr lang="da-DK" sz="800" b="1" noProof="1"/>
              <a:t>FMN Dias Master</a:t>
            </a:r>
            <a:r>
              <a:rPr lang="da-DK" sz="800" b="0" noProof="1"/>
              <a:t>.</a:t>
            </a:r>
            <a:r>
              <a:rPr lang="da-DK" sz="800" b="1" noProof="1"/>
              <a:t> </a:t>
            </a:r>
            <a:br>
              <a:rPr lang="da-DK" sz="800" b="1" noProof="1"/>
            </a:br>
            <a:r>
              <a:rPr lang="da-DK" sz="800" noProof="1"/>
              <a:t>Højreklik på den usynlige kasse til venstre for sidenr og vælg skift billede, find korrekt mærke. </a:t>
            </a:r>
          </a:p>
        </p:txBody>
      </p:sp>
    </p:spTree>
    <p:extLst>
      <p:ext uri="{BB962C8B-B14F-4D97-AF65-F5344CB8AC3E}">
        <p14:creationId xmlns:p14="http://schemas.microsoft.com/office/powerpoint/2010/main" val="382577354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Lst>
  <p:hf hdr="0"/>
  <p:txStyles>
    <p:titleStyle>
      <a:lvl1pPr algn="l" defTabSz="685794"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1991" indent="-341991" algn="l" defTabSz="685794"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3983" indent="-341991" algn="l" defTabSz="685794"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5974" indent="-341991" algn="l" defTabSz="685794"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5974" indent="-341991" algn="l" defTabSz="685794"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5974" indent="-341991" algn="l" defTabSz="685794"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5974" indent="-341991" algn="l" defTabSz="685794"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5974" indent="-341991" algn="l" defTabSz="685794"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5974" indent="-341991" algn="l" defTabSz="685794"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5974" indent="-341991" algn="l" defTabSz="685794"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794" rtl="0" eaLnBrk="1" latinLnBrk="0" hangingPunct="1">
        <a:defRPr sz="1351" kern="1200">
          <a:solidFill>
            <a:schemeClr val="tx1"/>
          </a:solidFill>
          <a:latin typeface="+mn-lt"/>
          <a:ea typeface="+mn-ea"/>
          <a:cs typeface="+mn-cs"/>
        </a:defRPr>
      </a:lvl1pPr>
      <a:lvl2pPr marL="342898" algn="l" defTabSz="685794" rtl="0" eaLnBrk="1" latinLnBrk="0" hangingPunct="1">
        <a:defRPr sz="1351" kern="1200">
          <a:solidFill>
            <a:schemeClr val="tx1"/>
          </a:solidFill>
          <a:latin typeface="+mn-lt"/>
          <a:ea typeface="+mn-ea"/>
          <a:cs typeface="+mn-cs"/>
        </a:defRPr>
      </a:lvl2pPr>
      <a:lvl3pPr marL="685794" algn="l" defTabSz="685794" rtl="0" eaLnBrk="1" latinLnBrk="0" hangingPunct="1">
        <a:defRPr sz="1351" kern="1200">
          <a:solidFill>
            <a:schemeClr val="tx1"/>
          </a:solidFill>
          <a:latin typeface="+mn-lt"/>
          <a:ea typeface="+mn-ea"/>
          <a:cs typeface="+mn-cs"/>
        </a:defRPr>
      </a:lvl3pPr>
      <a:lvl4pPr marL="1028692" algn="l" defTabSz="685794" rtl="0" eaLnBrk="1" latinLnBrk="0" hangingPunct="1">
        <a:defRPr sz="1351" kern="1200">
          <a:solidFill>
            <a:schemeClr val="tx1"/>
          </a:solidFill>
          <a:latin typeface="+mn-lt"/>
          <a:ea typeface="+mn-ea"/>
          <a:cs typeface="+mn-cs"/>
        </a:defRPr>
      </a:lvl4pPr>
      <a:lvl5pPr marL="1371588" algn="l" defTabSz="685794" rtl="0" eaLnBrk="1" latinLnBrk="0" hangingPunct="1">
        <a:defRPr sz="1351" kern="1200">
          <a:solidFill>
            <a:schemeClr val="tx1"/>
          </a:solidFill>
          <a:latin typeface="+mn-lt"/>
          <a:ea typeface="+mn-ea"/>
          <a:cs typeface="+mn-cs"/>
        </a:defRPr>
      </a:lvl5pPr>
      <a:lvl6pPr marL="1714486" algn="l" defTabSz="685794" rtl="0" eaLnBrk="1" latinLnBrk="0" hangingPunct="1">
        <a:defRPr sz="1351" kern="1200">
          <a:solidFill>
            <a:schemeClr val="tx1"/>
          </a:solidFill>
          <a:latin typeface="+mn-lt"/>
          <a:ea typeface="+mn-ea"/>
          <a:cs typeface="+mn-cs"/>
        </a:defRPr>
      </a:lvl6pPr>
      <a:lvl7pPr marL="2057383" algn="l" defTabSz="685794" rtl="0" eaLnBrk="1" latinLnBrk="0" hangingPunct="1">
        <a:defRPr sz="1351" kern="1200">
          <a:solidFill>
            <a:schemeClr val="tx1"/>
          </a:solidFill>
          <a:latin typeface="+mn-lt"/>
          <a:ea typeface="+mn-ea"/>
          <a:cs typeface="+mn-cs"/>
        </a:defRPr>
      </a:lvl7pPr>
      <a:lvl8pPr marL="2400280" algn="l" defTabSz="685794" rtl="0" eaLnBrk="1" latinLnBrk="0" hangingPunct="1">
        <a:defRPr sz="1351" kern="1200">
          <a:solidFill>
            <a:schemeClr val="tx1"/>
          </a:solidFill>
          <a:latin typeface="+mn-lt"/>
          <a:ea typeface="+mn-ea"/>
          <a:cs typeface="+mn-cs"/>
        </a:defRPr>
      </a:lvl8pPr>
      <a:lvl9pPr marL="2743178" algn="l" defTabSz="685794"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1007540" y="1150635"/>
            <a:ext cx="10706097"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1007552" y="2331557"/>
            <a:ext cx="10703983"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8220909" y="6420476"/>
            <a:ext cx="2988644" cy="146223"/>
          </a:xfrm>
          <a:prstGeom prst="rect">
            <a:avLst/>
          </a:prstGeom>
        </p:spPr>
        <p:txBody>
          <a:bodyPr vert="horz" lIns="0" tIns="0" rIns="0" bIns="0" rtlCol="0" anchor="b" anchorCtr="0"/>
          <a:lstStyle>
            <a:lvl1pPr algn="r">
              <a:defRPr sz="700" b="1">
                <a:solidFill>
                  <a:schemeClr val="tx1"/>
                </a:solidFill>
              </a:defRPr>
            </a:lvl1pPr>
          </a:lstStyle>
          <a:p>
            <a:endParaRPr lang="en-GB" dirty="0">
              <a:solidFill>
                <a:prstClr val="black"/>
              </a:solidFill>
            </a:endParaRPr>
          </a:p>
        </p:txBody>
      </p:sp>
      <p:sp>
        <p:nvSpPr>
          <p:cNvPr id="4" name="Date_GeneralDate"/>
          <p:cNvSpPr>
            <a:spLocks noGrp="1"/>
          </p:cNvSpPr>
          <p:nvPr>
            <p:ph type="dt" sz="half" idx="2"/>
          </p:nvPr>
        </p:nvSpPr>
        <p:spPr>
          <a:xfrm>
            <a:off x="8220909" y="6571531"/>
            <a:ext cx="2988644" cy="108000"/>
          </a:xfrm>
          <a:prstGeom prst="rect">
            <a:avLst/>
          </a:prstGeom>
        </p:spPr>
        <p:txBody>
          <a:bodyPr vert="horz" wrap="square" lIns="0" tIns="0" rIns="0" bIns="0" rtlCol="0" anchor="ctr" anchorCtr="0"/>
          <a:lstStyle>
            <a:lvl1pPr algn="r">
              <a:defRPr sz="700">
                <a:solidFill>
                  <a:schemeClr val="tx1"/>
                </a:solidFill>
              </a:defRPr>
            </a:lvl1pPr>
          </a:lstStyle>
          <a:p>
            <a:fld id="{00C02745-A530-4D15-AB43-C96E0920FF31}" type="datetime2">
              <a:rPr lang="da-DK" smtClean="0">
                <a:solidFill>
                  <a:prstClr val="black"/>
                </a:solidFill>
              </a:rPr>
              <a:pPr/>
              <a:t>4. februar 2025</a:t>
            </a:fld>
            <a:endParaRPr lang="en-GB" dirty="0">
              <a:solidFill>
                <a:prstClr val="black"/>
              </a:solidFill>
            </a:endParaRPr>
          </a:p>
        </p:txBody>
      </p:sp>
      <p:sp>
        <p:nvSpPr>
          <p:cNvPr id="6" name="Slide Number Placeholder 5"/>
          <p:cNvSpPr>
            <a:spLocks noGrp="1"/>
          </p:cNvSpPr>
          <p:nvPr>
            <p:ph type="sldNum" sz="quarter" idx="4"/>
          </p:nvPr>
        </p:nvSpPr>
        <p:spPr>
          <a:xfrm>
            <a:off x="11404615" y="6270925"/>
            <a:ext cx="0" cy="5400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pic>
        <p:nvPicPr>
          <p:cNvPr id="8" name="Picture 4"/>
          <p:cNvPicPr>
            <a:picLocks noChangeAspect="1" noChangeArrowheads="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461049" y="6133376"/>
            <a:ext cx="426169" cy="408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937995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823" r:id="rId24"/>
    <p:sldLayoutId id="2147483824" r:id="rId25"/>
  </p:sldLayoutIdLst>
  <p:hf hdr="0"/>
  <p:txStyles>
    <p:titleStyle>
      <a:lvl1pPr algn="l" defTabSz="685594" rtl="0" eaLnBrk="1" latinLnBrk="0" hangingPunct="1">
        <a:lnSpc>
          <a:spcPct val="102000"/>
        </a:lnSpc>
        <a:spcBef>
          <a:spcPct val="0"/>
        </a:spcBef>
        <a:buNone/>
        <a:defRPr sz="2599" b="1" kern="1200">
          <a:solidFill>
            <a:schemeClr val="tx1"/>
          </a:solidFill>
          <a:latin typeface="+mj-lt"/>
          <a:ea typeface="+mj-ea"/>
          <a:cs typeface="+mj-cs"/>
        </a:defRPr>
      </a:lvl1pPr>
    </p:titleStyle>
    <p:bodyStyle>
      <a:lvl1pPr marL="287914"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1pPr>
      <a:lvl2pPr marL="575827"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2pPr>
      <a:lvl3pPr marL="863741"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3pPr>
      <a:lvl4pPr marL="863741"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4pPr>
      <a:lvl5pPr marL="863741"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5pPr>
      <a:lvl6pPr marL="863741"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6pPr>
      <a:lvl7pPr marL="863741" indent="-287914" algn="l" defTabSz="685594" rtl="0" eaLnBrk="1" latinLnBrk="0" hangingPunct="1">
        <a:lnSpc>
          <a:spcPct val="150000"/>
        </a:lnSpc>
        <a:spcBef>
          <a:spcPts val="0"/>
        </a:spcBef>
        <a:buFont typeface="Verdana" panose="020B0604030504040204" pitchFamily="34" charset="0"/>
        <a:buChar char="●"/>
        <a:defRPr sz="1200" kern="1200" baseline="0">
          <a:solidFill>
            <a:schemeClr val="tx1"/>
          </a:solidFill>
          <a:latin typeface="+mn-lt"/>
          <a:ea typeface="+mn-ea"/>
          <a:cs typeface="+mn-cs"/>
        </a:defRPr>
      </a:lvl7pPr>
      <a:lvl8pPr marL="863741" indent="-287914" algn="l" defTabSz="685594" rtl="0" eaLnBrk="1" latinLnBrk="0" hangingPunct="1">
        <a:lnSpc>
          <a:spcPct val="150000"/>
        </a:lnSpc>
        <a:spcBef>
          <a:spcPts val="0"/>
        </a:spcBef>
        <a:buFont typeface="Verdana" panose="020B0604030504040204" pitchFamily="34" charset="0"/>
        <a:buChar char="●"/>
        <a:defRPr sz="1200" kern="1200">
          <a:solidFill>
            <a:schemeClr val="tx1"/>
          </a:solidFill>
          <a:latin typeface="+mn-lt"/>
          <a:ea typeface="+mn-ea"/>
          <a:cs typeface="+mn-cs"/>
        </a:defRPr>
      </a:lvl8pPr>
      <a:lvl9pPr marL="863741" indent="-287914" algn="l" defTabSz="685594" rtl="0" eaLnBrk="1" latinLnBrk="0" hangingPunct="1">
        <a:lnSpc>
          <a:spcPct val="150000"/>
        </a:lnSpc>
        <a:spcBef>
          <a:spcPts val="0"/>
        </a:spcBef>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685594" rtl="0" eaLnBrk="1" latinLnBrk="0" hangingPunct="1">
        <a:defRPr sz="1350" kern="1200">
          <a:solidFill>
            <a:schemeClr val="tx1"/>
          </a:solidFill>
          <a:latin typeface="+mn-lt"/>
          <a:ea typeface="+mn-ea"/>
          <a:cs typeface="+mn-cs"/>
        </a:defRPr>
      </a:lvl1pPr>
      <a:lvl2pPr marL="342797" algn="l" defTabSz="685594" rtl="0" eaLnBrk="1" latinLnBrk="0" hangingPunct="1">
        <a:defRPr sz="1350" kern="1200">
          <a:solidFill>
            <a:schemeClr val="tx1"/>
          </a:solidFill>
          <a:latin typeface="+mn-lt"/>
          <a:ea typeface="+mn-ea"/>
          <a:cs typeface="+mn-cs"/>
        </a:defRPr>
      </a:lvl2pPr>
      <a:lvl3pPr marL="685594" algn="l" defTabSz="685594" rtl="0" eaLnBrk="1" latinLnBrk="0" hangingPunct="1">
        <a:defRPr sz="1350" kern="1200">
          <a:solidFill>
            <a:schemeClr val="tx1"/>
          </a:solidFill>
          <a:latin typeface="+mn-lt"/>
          <a:ea typeface="+mn-ea"/>
          <a:cs typeface="+mn-cs"/>
        </a:defRPr>
      </a:lvl3pPr>
      <a:lvl4pPr marL="1028391" algn="l" defTabSz="685594" rtl="0" eaLnBrk="1" latinLnBrk="0" hangingPunct="1">
        <a:defRPr sz="1350" kern="1200">
          <a:solidFill>
            <a:schemeClr val="tx1"/>
          </a:solidFill>
          <a:latin typeface="+mn-lt"/>
          <a:ea typeface="+mn-ea"/>
          <a:cs typeface="+mn-cs"/>
        </a:defRPr>
      </a:lvl4pPr>
      <a:lvl5pPr marL="1371189" algn="l" defTabSz="685594" rtl="0" eaLnBrk="1" latinLnBrk="0" hangingPunct="1">
        <a:defRPr sz="1350" kern="1200">
          <a:solidFill>
            <a:schemeClr val="tx1"/>
          </a:solidFill>
          <a:latin typeface="+mn-lt"/>
          <a:ea typeface="+mn-ea"/>
          <a:cs typeface="+mn-cs"/>
        </a:defRPr>
      </a:lvl5pPr>
      <a:lvl6pPr marL="1713986" algn="l" defTabSz="685594" rtl="0" eaLnBrk="1" latinLnBrk="0" hangingPunct="1">
        <a:defRPr sz="1350" kern="1200">
          <a:solidFill>
            <a:schemeClr val="tx1"/>
          </a:solidFill>
          <a:latin typeface="+mn-lt"/>
          <a:ea typeface="+mn-ea"/>
          <a:cs typeface="+mn-cs"/>
        </a:defRPr>
      </a:lvl6pPr>
      <a:lvl7pPr marL="2056783" algn="l" defTabSz="685594" rtl="0" eaLnBrk="1" latinLnBrk="0" hangingPunct="1">
        <a:defRPr sz="1350" kern="1200">
          <a:solidFill>
            <a:schemeClr val="tx1"/>
          </a:solidFill>
          <a:latin typeface="+mn-lt"/>
          <a:ea typeface="+mn-ea"/>
          <a:cs typeface="+mn-cs"/>
        </a:defRPr>
      </a:lvl7pPr>
      <a:lvl8pPr marL="2399580" algn="l" defTabSz="685594" rtl="0" eaLnBrk="1" latinLnBrk="0" hangingPunct="1">
        <a:defRPr sz="1350" kern="1200">
          <a:solidFill>
            <a:schemeClr val="tx1"/>
          </a:solidFill>
          <a:latin typeface="+mn-lt"/>
          <a:ea typeface="+mn-ea"/>
          <a:cs typeface="+mn-cs"/>
        </a:defRPr>
      </a:lvl8pPr>
      <a:lvl9pPr marL="2742377" algn="l" defTabSz="68559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7" y="1528348"/>
            <a:ext cx="10592967"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757" y="2500627"/>
            <a:ext cx="10595347"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endParaRPr lang="en-GB" dirty="0"/>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endParaRPr lang="en-GB"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6" y="6514880"/>
            <a:ext cx="373315"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sp>
        <p:nvSpPr>
          <p:cNvPr id="9" name="TextBox 8">
            <a:extLst>
              <a:ext uri="{FF2B5EF4-FFF2-40B4-BE49-F238E27FC236}">
                <a16:creationId xmlns:a16="http://schemas.microsoft.com/office/drawing/2014/main" id="{549BFBCF-42F8-4B85-A1A5-7895951B1BAE}"/>
              </a:ext>
            </a:extLst>
          </p:cNvPr>
          <p:cNvSpPr txBox="1"/>
          <p:nvPr/>
        </p:nvSpPr>
        <p:spPr>
          <a:xfrm>
            <a:off x="6637107" y="6895483"/>
            <a:ext cx="5123814" cy="492443"/>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på fanen </a:t>
            </a:r>
            <a:r>
              <a:rPr lang="da-DK" sz="800" b="1" noProof="1"/>
              <a:t>Vis</a:t>
            </a:r>
            <a:r>
              <a:rPr lang="da-DK" sz="800" b="0" noProof="1"/>
              <a:t>, vælg </a:t>
            </a:r>
            <a:r>
              <a:rPr lang="da-DK" sz="800" b="1" noProof="1"/>
              <a:t>Diasmaster. </a:t>
            </a:r>
            <a:r>
              <a:rPr lang="da-DK" sz="800" b="0" noProof="1"/>
              <a:t>Klik på det øverste layout, </a:t>
            </a:r>
            <a:r>
              <a:rPr lang="da-DK" sz="800" b="1" noProof="1"/>
              <a:t>FKO Diasmaster</a:t>
            </a:r>
            <a:r>
              <a:rPr lang="da-DK" sz="800" b="0" noProof="1"/>
              <a:t>.</a:t>
            </a:r>
            <a:r>
              <a:rPr lang="da-DK" sz="800" b="1" noProof="1"/>
              <a:t> </a:t>
            </a:r>
            <a:br>
              <a:rPr lang="da-DK" sz="800" b="1" noProof="1"/>
            </a:br>
            <a:r>
              <a:rPr lang="da-DK" sz="800" noProof="1"/>
              <a:t>Højreklik på den usynlige kasse til venstre for sidenr og vælg </a:t>
            </a:r>
            <a:r>
              <a:rPr lang="da-DK" sz="800" b="1" noProof="1"/>
              <a:t>Udskift billede</a:t>
            </a:r>
            <a:r>
              <a:rPr lang="da-DK" sz="800" noProof="1"/>
              <a:t>, find mærke.</a:t>
            </a:r>
            <a:br>
              <a:rPr lang="da-DK" sz="800" noProof="1"/>
            </a:br>
            <a:r>
              <a:rPr lang="da-DK" sz="800" noProof="1"/>
              <a:t>Klik på</a:t>
            </a:r>
            <a:r>
              <a:rPr lang="da-DK" sz="800" b="1" noProof="1"/>
              <a:t> Luk mastervisning</a:t>
            </a:r>
            <a:r>
              <a:rPr lang="da-DK" sz="800" b="0" noProof="1"/>
              <a:t>.</a:t>
            </a:r>
          </a:p>
        </p:txBody>
      </p:sp>
      <p:pic>
        <p:nvPicPr>
          <p:cNvPr id="11" name="Indsæt mærke eller ta bort">
            <a:extLst>
              <a:ext uri="{FF2B5EF4-FFF2-40B4-BE49-F238E27FC236}">
                <a16:creationId xmlns:a16="http://schemas.microsoft.com/office/drawing/2014/main" id="{5F8A473A-6C8A-4FC7-BE5F-4018C433BCFF}"/>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1199162" y="6301801"/>
            <a:ext cx="345473" cy="420660"/>
          </a:xfrm>
          <a:prstGeom prst="rect">
            <a:avLst/>
          </a:prstGeom>
        </p:spPr>
      </p:pic>
    </p:spTree>
    <p:extLst>
      <p:ext uri="{BB962C8B-B14F-4D97-AF65-F5344CB8AC3E}">
        <p14:creationId xmlns:p14="http://schemas.microsoft.com/office/powerpoint/2010/main" val="60664159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Lst>
  <p:hf sldNum="0" hdr="0" dt="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7" y="1528348"/>
            <a:ext cx="10592967" cy="802103"/>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794757" y="2500627"/>
            <a:ext cx="10595347" cy="3503299"/>
          </a:xfrm>
          <a:prstGeom prst="rect">
            <a:avLst/>
          </a:prstGeom>
        </p:spPr>
        <p:txBody>
          <a:bodyPr vert="horz" lIns="0" tIns="0" rIns="0" bIns="0" rtlCol="0">
            <a:noAutofit/>
          </a:bodyPr>
          <a:lstStyle/>
          <a:p>
            <a:pPr lvl="0"/>
            <a:r>
              <a:rPr lang="da-DK" noProof="0"/>
              <a:t>Rediger typografien i masterens</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endParaRPr lang="da-DK" dirty="0"/>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4. februar 2025</a:t>
            </a:fld>
            <a:endParaRPr lang="da-DK"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6" y="6514880"/>
            <a:ext cx="373315"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pic>
        <p:nvPicPr>
          <p:cNvPr id="14" name="Indsæt mærke eller ta bort" descr="A close up of a logo&#10;&#10;Description automatically generated">
            <a:extLst>
              <a:ext uri="{FF2B5EF4-FFF2-40B4-BE49-F238E27FC236}">
                <a16:creationId xmlns:a16="http://schemas.microsoft.com/office/drawing/2014/main" id="{5F8A473A-6C8A-4FC7-BE5F-4018C433BCFF}"/>
              </a:ext>
            </a:extLst>
          </p:cNvPr>
          <p:cNvPicPr>
            <a:picLocks noChangeAspect="1"/>
          </p:cNvPicPr>
          <p:nvPr userDrawn="1"/>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73710" y="6301801"/>
            <a:ext cx="396377" cy="420660"/>
          </a:xfrm>
          <a:prstGeom prst="rect">
            <a:avLst/>
          </a:prstGeom>
        </p:spPr>
      </p:pic>
      <p:sp>
        <p:nvSpPr>
          <p:cNvPr id="15" name="TextBox 14">
            <a:extLst>
              <a:ext uri="{FF2B5EF4-FFF2-40B4-BE49-F238E27FC236}">
                <a16:creationId xmlns:a16="http://schemas.microsoft.com/office/drawing/2014/main" id="{2280A77A-900E-446B-95BC-771ACDAB41B8}"/>
              </a:ext>
            </a:extLst>
          </p:cNvPr>
          <p:cNvSpPr txBox="1"/>
          <p:nvPr userDrawn="1"/>
        </p:nvSpPr>
        <p:spPr>
          <a:xfrm>
            <a:off x="6801572" y="6895482"/>
            <a:ext cx="4891330" cy="369332"/>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a:t>
            </a:r>
            <a:r>
              <a:rPr lang="da-DK" sz="800" b="1" noProof="1"/>
              <a:t>VIS</a:t>
            </a:r>
            <a:r>
              <a:rPr lang="da-DK" sz="800" b="0" noProof="1"/>
              <a:t>, vælg </a:t>
            </a:r>
            <a:r>
              <a:rPr lang="da-DK" sz="800" b="1" noProof="1"/>
              <a:t>Dias Master. </a:t>
            </a:r>
            <a:r>
              <a:rPr lang="da-DK" sz="800" b="0" noProof="1"/>
              <a:t>Klik på </a:t>
            </a:r>
            <a:r>
              <a:rPr lang="da-DK" sz="800" b="1" noProof="1"/>
              <a:t>FMN Dias Master</a:t>
            </a:r>
            <a:r>
              <a:rPr lang="da-DK" sz="800" b="0" noProof="1"/>
              <a:t>.</a:t>
            </a:r>
            <a:r>
              <a:rPr lang="da-DK" sz="800" b="1" noProof="1"/>
              <a:t> </a:t>
            </a:r>
            <a:br>
              <a:rPr lang="da-DK" sz="800" b="1" noProof="1"/>
            </a:br>
            <a:r>
              <a:rPr lang="da-DK" sz="800" noProof="1"/>
              <a:t>Højreklik på den usynlige kasse til venstre for sidenr og vælg skift billede, find korrekt mærke. </a:t>
            </a:r>
          </a:p>
        </p:txBody>
      </p:sp>
    </p:spTree>
    <p:extLst>
      <p:ext uri="{BB962C8B-B14F-4D97-AF65-F5344CB8AC3E}">
        <p14:creationId xmlns:p14="http://schemas.microsoft.com/office/powerpoint/2010/main" val="293460405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Lst>
  <p:hf hdr="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97137" y="1528348"/>
            <a:ext cx="10592967" cy="802103"/>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94757" y="2500627"/>
            <a:ext cx="10595347" cy="35032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LD_PresentationTitle"/>
          <p:cNvSpPr>
            <a:spLocks noGrp="1"/>
          </p:cNvSpPr>
          <p:nvPr>
            <p:ph type="ftr" sz="quarter" idx="3"/>
          </p:nvPr>
        </p:nvSpPr>
        <p:spPr>
          <a:xfrm>
            <a:off x="8148379" y="6392547"/>
            <a:ext cx="2824104" cy="167552"/>
          </a:xfrm>
          <a:prstGeom prst="rect">
            <a:avLst/>
          </a:prstGeom>
        </p:spPr>
        <p:txBody>
          <a:bodyPr vert="horz" lIns="0" tIns="0" rIns="0" bIns="0" rtlCol="0" anchor="b" anchorCtr="0"/>
          <a:lstStyle>
            <a:lvl1pPr algn="r">
              <a:defRPr sz="700" b="1">
                <a:solidFill>
                  <a:schemeClr val="tx1"/>
                </a:solidFill>
              </a:defRPr>
            </a:lvl1pPr>
          </a:lstStyle>
          <a:p>
            <a:r>
              <a:rPr lang="en-GB" dirty="0"/>
              <a:t>LRGN W ORA 30.marts 2022</a:t>
            </a:r>
          </a:p>
        </p:txBody>
      </p:sp>
      <p:sp>
        <p:nvSpPr>
          <p:cNvPr id="4" name="Date_GeneralDate"/>
          <p:cNvSpPr>
            <a:spLocks noGrp="1"/>
          </p:cNvSpPr>
          <p:nvPr>
            <p:ph type="dt" sz="half" idx="2"/>
          </p:nvPr>
        </p:nvSpPr>
        <p:spPr>
          <a:xfrm>
            <a:off x="8148379" y="6564941"/>
            <a:ext cx="2824104" cy="108000"/>
          </a:xfrm>
          <a:prstGeom prst="rect">
            <a:avLst/>
          </a:prstGeom>
        </p:spPr>
        <p:txBody>
          <a:bodyPr vert="horz" wrap="square" lIns="0" tIns="0" rIns="0" bIns="0" rtlCol="0" anchor="ctr" anchorCtr="0"/>
          <a:lstStyle>
            <a:lvl1pPr algn="r">
              <a:defRPr sz="700">
                <a:solidFill>
                  <a:schemeClr val="tx1"/>
                </a:solidFill>
              </a:defRPr>
            </a:lvl1pPr>
          </a:lstStyle>
          <a:p>
            <a:endParaRPr lang="en-GB" dirty="0"/>
          </a:p>
        </p:txBody>
      </p:sp>
      <p:sp>
        <p:nvSpPr>
          <p:cNvPr id="8" name="Slide Number Placeholder 7">
            <a:extLst>
              <a:ext uri="{FF2B5EF4-FFF2-40B4-BE49-F238E27FC236}">
                <a16:creationId xmlns:a16="http://schemas.microsoft.com/office/drawing/2014/main" id="{6BF25F4C-15AE-497A-8D1A-5C528CDA7CBB}"/>
              </a:ext>
            </a:extLst>
          </p:cNvPr>
          <p:cNvSpPr>
            <a:spLocks noGrp="1"/>
          </p:cNvSpPr>
          <p:nvPr>
            <p:ph type="sldNum" sz="quarter" idx="4"/>
          </p:nvPr>
        </p:nvSpPr>
        <p:spPr>
          <a:xfrm>
            <a:off x="11387606" y="6514880"/>
            <a:ext cx="373315" cy="208122"/>
          </a:xfrm>
          <a:prstGeom prst="rect">
            <a:avLst/>
          </a:prstGeom>
        </p:spPr>
        <p:txBody>
          <a:bodyPr vert="horz" wrap="none" lIns="0" tIns="0" rIns="0" bIns="0" rtlCol="0" anchor="ctr"/>
          <a:lstStyle>
            <a:lvl1pPr algn="r">
              <a:defRPr sz="700">
                <a:solidFill>
                  <a:schemeClr val="tx1"/>
                </a:solidFill>
              </a:defRPr>
            </a:lvl1pPr>
          </a:lstStyle>
          <a:p>
            <a:fld id="{E1EA47C5-00F7-4308-9CB9-463B1A6058F9}" type="slidenum">
              <a:rPr lang="da-DK" smtClean="0"/>
              <a:pPr/>
              <a:t>‹nr.›</a:t>
            </a:fld>
            <a:endParaRPr lang="da-DK" dirty="0"/>
          </a:p>
        </p:txBody>
      </p:sp>
      <p:sp>
        <p:nvSpPr>
          <p:cNvPr id="9" name="TextBox 8">
            <a:extLst>
              <a:ext uri="{FF2B5EF4-FFF2-40B4-BE49-F238E27FC236}">
                <a16:creationId xmlns:a16="http://schemas.microsoft.com/office/drawing/2014/main" id="{549BFBCF-42F8-4B85-A1A5-7895951B1BAE}"/>
              </a:ext>
            </a:extLst>
          </p:cNvPr>
          <p:cNvSpPr txBox="1"/>
          <p:nvPr/>
        </p:nvSpPr>
        <p:spPr>
          <a:xfrm>
            <a:off x="6637107" y="6895483"/>
            <a:ext cx="5123814" cy="492443"/>
          </a:xfrm>
          <a:prstGeom prst="rect">
            <a:avLst/>
          </a:prstGeom>
          <a:noFill/>
        </p:spPr>
        <p:txBody>
          <a:bodyPr wrap="square" lIns="0" tIns="0" rIns="0" bIns="0" rtlCol="0">
            <a:spAutoFit/>
          </a:bodyPr>
          <a:lstStyle/>
          <a:p>
            <a:pPr algn="r">
              <a:lnSpc>
                <a:spcPct val="100000"/>
              </a:lnSpc>
            </a:pPr>
            <a:r>
              <a:rPr lang="da-DK" sz="800" b="1" noProof="1"/>
              <a:t>                                                 Indsæt mærke:</a:t>
            </a:r>
          </a:p>
          <a:p>
            <a:pPr algn="r">
              <a:lnSpc>
                <a:spcPct val="100000"/>
              </a:lnSpc>
            </a:pPr>
            <a:r>
              <a:rPr lang="da-DK" sz="800" noProof="1"/>
              <a:t>Klik på fanen </a:t>
            </a:r>
            <a:r>
              <a:rPr lang="da-DK" sz="800" b="1" noProof="1"/>
              <a:t>Vis</a:t>
            </a:r>
            <a:r>
              <a:rPr lang="da-DK" sz="800" b="0" noProof="1"/>
              <a:t>, vælg </a:t>
            </a:r>
            <a:r>
              <a:rPr lang="da-DK" sz="800" b="1" noProof="1"/>
              <a:t>Diasmaster. </a:t>
            </a:r>
            <a:r>
              <a:rPr lang="da-DK" sz="800" b="0" noProof="1"/>
              <a:t>Klik på det øverste layout, </a:t>
            </a:r>
            <a:r>
              <a:rPr lang="da-DK" sz="800" b="1" noProof="1"/>
              <a:t>FKO Diasmaster</a:t>
            </a:r>
            <a:r>
              <a:rPr lang="da-DK" sz="800" b="0" noProof="1"/>
              <a:t>.</a:t>
            </a:r>
            <a:r>
              <a:rPr lang="da-DK" sz="800" b="1" noProof="1"/>
              <a:t> </a:t>
            </a:r>
            <a:br>
              <a:rPr lang="da-DK" sz="800" b="1" noProof="1"/>
            </a:br>
            <a:r>
              <a:rPr lang="da-DK" sz="800" noProof="1"/>
              <a:t>Højreklik på den usynlige kasse til venstre for sidenr og vælg </a:t>
            </a:r>
            <a:r>
              <a:rPr lang="da-DK" sz="800" b="1" noProof="1"/>
              <a:t>Udskift billede</a:t>
            </a:r>
            <a:r>
              <a:rPr lang="da-DK" sz="800" noProof="1"/>
              <a:t>, find mærke.</a:t>
            </a:r>
            <a:br>
              <a:rPr lang="da-DK" sz="800" noProof="1"/>
            </a:br>
            <a:r>
              <a:rPr lang="da-DK" sz="800" noProof="1"/>
              <a:t>Klik på</a:t>
            </a:r>
            <a:r>
              <a:rPr lang="da-DK" sz="800" b="1" noProof="1"/>
              <a:t> Luk mastervisning</a:t>
            </a:r>
            <a:r>
              <a:rPr lang="da-DK" sz="800" b="0" noProof="1"/>
              <a:t>.</a:t>
            </a:r>
          </a:p>
        </p:txBody>
      </p:sp>
      <p:pic>
        <p:nvPicPr>
          <p:cNvPr id="11" name="Indsæt mærke eller ta bort">
            <a:extLst>
              <a:ext uri="{FF2B5EF4-FFF2-40B4-BE49-F238E27FC236}">
                <a16:creationId xmlns:a16="http://schemas.microsoft.com/office/drawing/2014/main" id="{5F8A473A-6C8A-4FC7-BE5F-4018C433BCFF}"/>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1199162" y="6301801"/>
            <a:ext cx="345473" cy="420660"/>
          </a:xfrm>
          <a:prstGeom prst="rect">
            <a:avLst/>
          </a:prstGeom>
        </p:spPr>
      </p:pic>
    </p:spTree>
    <p:extLst>
      <p:ext uri="{BB962C8B-B14F-4D97-AF65-F5344CB8AC3E}">
        <p14:creationId xmlns:p14="http://schemas.microsoft.com/office/powerpoint/2010/main" val="257553679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Lst>
  <p:hf sldNum="0" hdr="0" dt="0"/>
  <p:txStyles>
    <p:titleStyle>
      <a:lvl1pPr algn="l" defTabSz="685811" rtl="0" eaLnBrk="1" latinLnBrk="0" hangingPunct="1">
        <a:lnSpc>
          <a:spcPct val="102000"/>
        </a:lnSpc>
        <a:spcBef>
          <a:spcPct val="0"/>
        </a:spcBef>
        <a:buNone/>
        <a:defRPr sz="2800" b="1" kern="1200">
          <a:solidFill>
            <a:schemeClr val="tx1"/>
          </a:solidFill>
          <a:latin typeface="+mj-lt"/>
          <a:ea typeface="+mj-ea"/>
          <a:cs typeface="+mj-cs"/>
        </a:defRPr>
      </a:lvl1pPr>
    </p:titleStyle>
    <p:bodyStyle>
      <a:lvl1pPr marL="342000" indent="-342000" algn="l" defTabSz="685811" rtl="0" eaLnBrk="1" latinLnBrk="0" hangingPunct="1">
        <a:lnSpc>
          <a:spcPct val="125000"/>
        </a:lnSpc>
        <a:spcBef>
          <a:spcPts val="600"/>
        </a:spcBef>
        <a:buFont typeface="Verdana" panose="020B0604030504040204" pitchFamily="34" charset="0"/>
        <a:buChar char="●"/>
        <a:defRPr sz="1800" kern="1200">
          <a:solidFill>
            <a:schemeClr val="tx1"/>
          </a:solidFill>
          <a:latin typeface="+mn-lt"/>
          <a:ea typeface="+mn-ea"/>
          <a:cs typeface="+mn-cs"/>
        </a:defRPr>
      </a:lvl1pPr>
      <a:lvl2pPr marL="684000" indent="-342000" algn="l" defTabSz="685811" rtl="0" eaLnBrk="1" latinLnBrk="0" hangingPunct="1">
        <a:lnSpc>
          <a:spcPct val="125000"/>
        </a:lnSpc>
        <a:spcBef>
          <a:spcPts val="600"/>
        </a:spcBef>
        <a:buFont typeface="Verdana" panose="020B0604030504040204" pitchFamily="34" charset="0"/>
        <a:buChar char="●"/>
        <a:defRPr sz="1600" kern="1200">
          <a:solidFill>
            <a:schemeClr val="tx1"/>
          </a:solidFill>
          <a:latin typeface="+mn-lt"/>
          <a:ea typeface="+mn-ea"/>
          <a:cs typeface="+mn-cs"/>
        </a:defRPr>
      </a:lvl2pPr>
      <a:lvl3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3pPr>
      <a:lvl4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4pPr>
      <a:lvl5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6"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4"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05">
          <p15:clr>
            <a:srgbClr val="F26B43"/>
          </p15:clr>
        </p15:guide>
        <p15:guide id="3" orient="horz" pos="957">
          <p15:clr>
            <a:srgbClr val="F26B43"/>
          </p15:clr>
        </p15:guide>
        <p15:guide id="5" orient="horz" pos="3782">
          <p15:clr>
            <a:srgbClr val="F26B43"/>
          </p15:clr>
        </p15:guide>
        <p15:guide id="6" orient="horz" pos="323">
          <p15:clr>
            <a:srgbClr val="F26B43"/>
          </p15:clr>
        </p15:guide>
        <p15:guide id="7" orient="horz" pos="1468">
          <p15:clr>
            <a:srgbClr val="F26B43"/>
          </p15:clr>
        </p15:guide>
        <p15:guide id="8" pos="717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2.tiff"/><Relationship Id="rId2" Type="http://schemas.openxmlformats.org/officeDocument/2006/relationships/notesSlide" Target="../notesSlides/notesSlide2.xml"/><Relationship Id="rId1" Type="http://schemas.openxmlformats.org/officeDocument/2006/relationships/slideLayout" Target="../slideLayouts/slideLayout86.xml"/><Relationship Id="rId6" Type="http://schemas.openxmlformats.org/officeDocument/2006/relationships/diagramColors" Target="../diagrams/colors1.xml"/><Relationship Id="rId11" Type="http://schemas.openxmlformats.org/officeDocument/2006/relationships/image" Target="../media/image51.tiff"/><Relationship Id="rId5" Type="http://schemas.openxmlformats.org/officeDocument/2006/relationships/diagramQuickStyle" Target="../diagrams/quickStyle1.xml"/><Relationship Id="rId10" Type="http://schemas.openxmlformats.org/officeDocument/2006/relationships/image" Target="../media/image50.tiff"/><Relationship Id="rId4" Type="http://schemas.openxmlformats.org/officeDocument/2006/relationships/diagramLayout" Target="../diagrams/layout1.xml"/><Relationship Id="rId9" Type="http://schemas.openxmlformats.org/officeDocument/2006/relationships/image" Target="../media/image49.tiff"/><Relationship Id="rId14" Type="http://schemas.openxmlformats.org/officeDocument/2006/relationships/image" Target="../media/image54.png"/></Relationships>
</file>

<file path=ppt/slides/_rels/slide3.xml.rels><?xml version="1.0" encoding="UTF-8" standalone="yes"?>
<Relationships xmlns="http://schemas.openxmlformats.org/package/2006/relationships"><Relationship Id="rId8" Type="http://schemas.openxmlformats.org/officeDocument/2006/relationships/image" Target="../media/image49.tif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8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52.tiff"/><Relationship Id="rId2" Type="http://schemas.openxmlformats.org/officeDocument/2006/relationships/notesSlide" Target="../notesSlides/notesSlide4.xml"/><Relationship Id="rId1" Type="http://schemas.openxmlformats.org/officeDocument/2006/relationships/slideLayout" Target="../slideLayouts/slideLayout86.xml"/><Relationship Id="rId6" Type="http://schemas.openxmlformats.org/officeDocument/2006/relationships/diagramColors" Target="../diagrams/colors3.xml"/><Relationship Id="rId11" Type="http://schemas.openxmlformats.org/officeDocument/2006/relationships/image" Target="../media/image51.tiff"/><Relationship Id="rId5" Type="http://schemas.openxmlformats.org/officeDocument/2006/relationships/diagramQuickStyle" Target="../diagrams/quickStyle3.xml"/><Relationship Id="rId10" Type="http://schemas.openxmlformats.org/officeDocument/2006/relationships/image" Target="../media/image50.tiff"/><Relationship Id="rId4" Type="http://schemas.openxmlformats.org/officeDocument/2006/relationships/diagramLayout" Target="../diagrams/layout3.xml"/><Relationship Id="rId9" Type="http://schemas.openxmlformats.org/officeDocument/2006/relationships/image" Target="../media/image49.tiff"/><Relationship Id="rId14" Type="http://schemas.openxmlformats.org/officeDocument/2006/relationships/image" Target="../media/image54.png"/></Relationships>
</file>

<file path=ppt/slides/_rels/slide5.xml.rels><?xml version="1.0" encoding="UTF-8" standalone="yes"?>
<Relationships xmlns="http://schemas.openxmlformats.org/package/2006/relationships"><Relationship Id="rId8" Type="http://schemas.openxmlformats.org/officeDocument/2006/relationships/image" Target="../media/image50.tiff"/><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8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52.tiff"/><Relationship Id="rId2" Type="http://schemas.openxmlformats.org/officeDocument/2006/relationships/notesSlide" Target="../notesSlides/notesSlide6.xml"/><Relationship Id="rId1" Type="http://schemas.openxmlformats.org/officeDocument/2006/relationships/slideLayout" Target="../slideLayouts/slideLayout86.xml"/><Relationship Id="rId6" Type="http://schemas.openxmlformats.org/officeDocument/2006/relationships/diagramColors" Target="../diagrams/colors5.xml"/><Relationship Id="rId11" Type="http://schemas.openxmlformats.org/officeDocument/2006/relationships/image" Target="../media/image51.tiff"/><Relationship Id="rId5" Type="http://schemas.openxmlformats.org/officeDocument/2006/relationships/diagramQuickStyle" Target="../diagrams/quickStyle5.xml"/><Relationship Id="rId10" Type="http://schemas.openxmlformats.org/officeDocument/2006/relationships/image" Target="../media/image50.tiff"/><Relationship Id="rId4" Type="http://schemas.openxmlformats.org/officeDocument/2006/relationships/diagramLayout" Target="../diagrams/layout5.xml"/><Relationship Id="rId9" Type="http://schemas.openxmlformats.org/officeDocument/2006/relationships/image" Target="../media/image49.tiff"/><Relationship Id="rId14" Type="http://schemas.openxmlformats.org/officeDocument/2006/relationships/image" Target="../media/image54.png"/></Relationships>
</file>

<file path=ppt/slides/_rels/slide7.xml.rels><?xml version="1.0" encoding="UTF-8" standalone="yes"?>
<Relationships xmlns="http://schemas.openxmlformats.org/package/2006/relationships"><Relationship Id="rId8" Type="http://schemas.openxmlformats.org/officeDocument/2006/relationships/image" Target="../media/image52.tiff"/><Relationship Id="rId13" Type="http://schemas.openxmlformats.org/officeDocument/2006/relationships/image" Target="../media/image53.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49.tiff"/><Relationship Id="rId2" Type="http://schemas.openxmlformats.org/officeDocument/2006/relationships/notesSlide" Target="../notesSlides/notesSlide7.xml"/><Relationship Id="rId1" Type="http://schemas.openxmlformats.org/officeDocument/2006/relationships/slideLayout" Target="../slideLayouts/slideLayout87.xml"/><Relationship Id="rId6" Type="http://schemas.openxmlformats.org/officeDocument/2006/relationships/diagramColors" Target="../diagrams/colors6.xml"/><Relationship Id="rId11" Type="http://schemas.openxmlformats.org/officeDocument/2006/relationships/image" Target="../media/image48.png"/><Relationship Id="rId5" Type="http://schemas.openxmlformats.org/officeDocument/2006/relationships/diagramQuickStyle" Target="../diagrams/quickStyle6.xml"/><Relationship Id="rId15" Type="http://schemas.openxmlformats.org/officeDocument/2006/relationships/image" Target="../media/image58.png"/><Relationship Id="rId10" Type="http://schemas.openxmlformats.org/officeDocument/2006/relationships/image" Target="../media/image50.tiff"/><Relationship Id="rId4" Type="http://schemas.openxmlformats.org/officeDocument/2006/relationships/diagramLayout" Target="../diagrams/layout6.xml"/><Relationship Id="rId9" Type="http://schemas.openxmlformats.org/officeDocument/2006/relationships/image" Target="../media/image51.tiff"/><Relationship Id="rId14" Type="http://schemas.openxmlformats.org/officeDocument/2006/relationships/image" Target="../media/image54.png"/></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Pladsholder til tekst 122"/>
          <p:cNvSpPr>
            <a:spLocks noGrp="1"/>
          </p:cNvSpPr>
          <p:nvPr>
            <p:ph type="body" sz="quarter" idx="16"/>
          </p:nvPr>
        </p:nvSpPr>
        <p:spPr/>
        <p:txBody>
          <a:bodyPr/>
          <a:lstStyle/>
          <a:p>
            <a:endParaRPr lang="da-DK"/>
          </a:p>
        </p:txBody>
      </p:sp>
      <p:sp>
        <p:nvSpPr>
          <p:cNvPr id="124" name="Pladsholder til tekst 123"/>
          <p:cNvSpPr>
            <a:spLocks noGrp="1"/>
          </p:cNvSpPr>
          <p:nvPr>
            <p:ph type="body" sz="quarter" idx="17"/>
          </p:nvPr>
        </p:nvSpPr>
        <p:spPr/>
        <p:txBody>
          <a:bodyPr/>
          <a:lstStyle/>
          <a:p>
            <a:endParaRPr lang="da-DK"/>
          </a:p>
        </p:txBody>
      </p:sp>
      <p:sp>
        <p:nvSpPr>
          <p:cNvPr id="125" name="Pladsholder til tekst 124"/>
          <p:cNvSpPr>
            <a:spLocks noGrp="1"/>
          </p:cNvSpPr>
          <p:nvPr>
            <p:ph type="body" sz="quarter" idx="19"/>
          </p:nvPr>
        </p:nvSpPr>
        <p:spPr/>
        <p:txBody>
          <a:bodyPr/>
          <a:lstStyle/>
          <a:p>
            <a:endParaRPr lang="da-DK"/>
          </a:p>
        </p:txBody>
      </p:sp>
      <p:sp>
        <p:nvSpPr>
          <p:cNvPr id="126" name="Pladsholder til tekst 125"/>
          <p:cNvSpPr>
            <a:spLocks noGrp="1"/>
          </p:cNvSpPr>
          <p:nvPr>
            <p:ph type="body" sz="quarter" idx="20"/>
          </p:nvPr>
        </p:nvSpPr>
        <p:spPr/>
        <p:txBody>
          <a:bodyPr/>
          <a:lstStyle/>
          <a:p>
            <a:endParaRPr lang="da-DK"/>
          </a:p>
        </p:txBody>
      </p:sp>
      <p:sp>
        <p:nvSpPr>
          <p:cNvPr id="6" name="Pladsholder til dato 5"/>
          <p:cNvSpPr>
            <a:spLocks noGrp="1"/>
          </p:cNvSpPr>
          <p:nvPr>
            <p:ph type="dt" sz="half" idx="10"/>
          </p:nvPr>
        </p:nvSpPr>
        <p:spPr/>
        <p:txBody>
          <a:bodyPr/>
          <a:lstStyle/>
          <a:p>
            <a:pPr defTabSz="914126"/>
            <a:fld id="{9EACCC4A-893E-4B6A-A217-166559D2F8BC}" type="datetime2">
              <a:rPr lang="da-DK">
                <a:latin typeface="Verdana"/>
              </a:rPr>
              <a:pPr defTabSz="914126"/>
              <a:t>4. februar 2025</a:t>
            </a:fld>
            <a:endParaRPr lang="da-DK" dirty="0">
              <a:latin typeface="Verdana"/>
            </a:endParaRPr>
          </a:p>
        </p:txBody>
      </p:sp>
      <p:sp>
        <p:nvSpPr>
          <p:cNvPr id="7" name="Pladsholder til sidefod 6"/>
          <p:cNvSpPr>
            <a:spLocks noGrp="1"/>
          </p:cNvSpPr>
          <p:nvPr>
            <p:ph type="ftr" sz="quarter" idx="11"/>
          </p:nvPr>
        </p:nvSpPr>
        <p:spPr/>
        <p:txBody>
          <a:bodyPr/>
          <a:lstStyle/>
          <a:p>
            <a:pPr defTabSz="914126"/>
            <a:endParaRPr lang="da-DK" dirty="0">
              <a:latin typeface="Verdana"/>
            </a:endParaRPr>
          </a:p>
        </p:txBody>
      </p:sp>
      <p:sp>
        <p:nvSpPr>
          <p:cNvPr id="8" name="Pladsholder til diasnummer 7"/>
          <p:cNvSpPr>
            <a:spLocks noGrp="1"/>
          </p:cNvSpPr>
          <p:nvPr>
            <p:ph type="sldNum" sz="quarter" idx="12"/>
          </p:nvPr>
        </p:nvSpPr>
        <p:spPr/>
        <p:txBody>
          <a:bodyPr/>
          <a:lstStyle/>
          <a:p>
            <a:pPr defTabSz="914126"/>
            <a:fld id="{24C8C45C-947F-4981-8B3F-4F32E973C901}" type="slidenum">
              <a:rPr lang="da-DK">
                <a:latin typeface="Verdana"/>
              </a:rPr>
              <a:pPr defTabSz="914126"/>
              <a:t>1</a:t>
            </a:fld>
            <a:endParaRPr lang="da-DK" dirty="0">
              <a:latin typeface="Verdana"/>
            </a:endParaRPr>
          </a:p>
        </p:txBody>
      </p:sp>
      <p:sp>
        <p:nvSpPr>
          <p:cNvPr id="130" name="Rektangel 129"/>
          <p:cNvSpPr/>
          <p:nvPr/>
        </p:nvSpPr>
        <p:spPr>
          <a:xfrm>
            <a:off x="922949" y="4595760"/>
            <a:ext cx="4683524" cy="1407876"/>
          </a:xfrm>
          <a:prstGeom prst="rect">
            <a:avLst/>
          </a:prstGeom>
          <a:gradFill rotWithShape="1">
            <a:gsLst>
              <a:gs pos="0">
                <a:srgbClr val="597E50">
                  <a:satMod val="103000"/>
                  <a:lumMod val="102000"/>
                  <a:tint val="94000"/>
                </a:srgbClr>
              </a:gs>
              <a:gs pos="50000">
                <a:srgbClr val="597E50">
                  <a:satMod val="110000"/>
                  <a:lumMod val="100000"/>
                  <a:shade val="100000"/>
                </a:srgbClr>
              </a:gs>
              <a:gs pos="100000">
                <a:srgbClr val="597E50">
                  <a:lumMod val="99000"/>
                  <a:satMod val="120000"/>
                  <a:shade val="78000"/>
                </a:srgbClr>
              </a:gs>
            </a:gsLst>
            <a:lin ang="5400000" scaled="0"/>
          </a:gradFill>
          <a:ln w="6350" cap="flat" cmpd="sng" algn="ctr">
            <a:solidFill>
              <a:srgbClr val="597E50"/>
            </a:solidFill>
            <a:prstDash val="solid"/>
            <a:miter lim="800000"/>
          </a:ln>
          <a:effectLst>
            <a:outerShdw blurRad="50800" dist="38100" dir="2700000" algn="tl" rotWithShape="0">
              <a:prstClr val="black">
                <a:alpha val="40000"/>
              </a:prstClr>
            </a:outerShdw>
          </a:effectLst>
        </p:spPr>
        <p:txBody>
          <a:bodyPr rtlCol="0" anchor="ctr"/>
          <a:lstStyle/>
          <a:p>
            <a:pPr algn="ctr" defTabSz="914126">
              <a:lnSpc>
                <a:spcPct val="125000"/>
              </a:lnSpc>
              <a:defRPr/>
            </a:pPr>
            <a:endParaRPr lang="da-DK" sz="1200" kern="0" dirty="0" err="1">
              <a:solidFill>
                <a:prstClr val="white"/>
              </a:solidFill>
              <a:effectLst>
                <a:outerShdw blurRad="38100" dist="38100" dir="2700000" algn="tl">
                  <a:srgbClr val="000000">
                    <a:alpha val="43137"/>
                  </a:srgbClr>
                </a:outerShdw>
              </a:effectLst>
              <a:latin typeface="Verdana"/>
            </a:endParaRPr>
          </a:p>
        </p:txBody>
      </p:sp>
      <p:sp>
        <p:nvSpPr>
          <p:cNvPr id="135" name="Titel 1"/>
          <p:cNvSpPr>
            <a:spLocks noGrp="1"/>
          </p:cNvSpPr>
          <p:nvPr>
            <p:ph type="ctrTitle"/>
          </p:nvPr>
        </p:nvSpPr>
        <p:spPr>
          <a:xfrm>
            <a:off x="1045824" y="4711380"/>
            <a:ext cx="4530080" cy="533853"/>
          </a:xfrm>
        </p:spPr>
        <p:txBody>
          <a:bodyPr anchor="t"/>
          <a:lstStyle/>
          <a:p>
            <a:r>
              <a:rPr lang="da-DK" sz="1800" dirty="0" smtClean="0">
                <a:solidFill>
                  <a:schemeClr val="bg1"/>
                </a:solidFill>
                <a:effectLst>
                  <a:outerShdw blurRad="38100" dist="38100" dir="2700000" algn="tl">
                    <a:srgbClr val="000000">
                      <a:alpha val="43137"/>
                    </a:srgbClr>
                  </a:outerShdw>
                </a:effectLst>
              </a:rPr>
              <a:t>FAK Uddannelseskonference 2025</a:t>
            </a:r>
            <a:endParaRPr lang="da-DK" sz="1800" dirty="0">
              <a:solidFill>
                <a:schemeClr val="bg1"/>
              </a:solidFill>
              <a:effectLst>
                <a:outerShdw blurRad="38100" dist="38100" dir="2700000" algn="tl">
                  <a:srgbClr val="000000">
                    <a:alpha val="43137"/>
                  </a:srgbClr>
                </a:outerShdw>
              </a:effectLst>
            </a:endParaRPr>
          </a:p>
        </p:txBody>
      </p:sp>
      <p:sp>
        <p:nvSpPr>
          <p:cNvPr id="136" name="Undertitel 2"/>
          <p:cNvSpPr>
            <a:spLocks noGrp="1"/>
          </p:cNvSpPr>
          <p:nvPr>
            <p:ph type="subTitle" idx="1"/>
          </p:nvPr>
        </p:nvSpPr>
        <p:spPr>
          <a:xfrm>
            <a:off x="1045824" y="5261292"/>
            <a:ext cx="3684480" cy="652974"/>
          </a:xfrm>
        </p:spPr>
        <p:txBody>
          <a:bodyPr/>
          <a:lstStyle/>
          <a:p>
            <a:r>
              <a:rPr lang="da-DK" sz="1400" dirty="0" smtClean="0">
                <a:solidFill>
                  <a:schemeClr val="bg1"/>
                </a:solidFill>
                <a:effectLst>
                  <a:outerShdw blurRad="38100" dist="38100" dir="2700000" algn="tl">
                    <a:srgbClr val="000000">
                      <a:alpha val="43137"/>
                    </a:srgbClr>
                  </a:outerShdw>
                </a:effectLst>
              </a:rPr>
              <a:t>Hærchefsergent Jesper Madsen Mølgaard</a:t>
            </a:r>
            <a:endParaRPr lang="da-DK" sz="1400" dirty="0">
              <a:solidFill>
                <a:schemeClr val="bg1"/>
              </a:solidFill>
              <a:effectLst>
                <a:outerShdw blurRad="38100" dist="38100" dir="2700000" algn="tl">
                  <a:srgbClr val="000000">
                    <a:alpha val="43137"/>
                  </a:srgbClr>
                </a:outerShdw>
              </a:effectLst>
            </a:endParaRPr>
          </a:p>
          <a:p>
            <a:r>
              <a:rPr lang="da-DK" sz="1400" dirty="0">
                <a:solidFill>
                  <a:schemeClr val="bg1"/>
                </a:solidFill>
                <a:effectLst>
                  <a:outerShdw blurRad="38100" dist="38100" dir="2700000" algn="tl">
                    <a:srgbClr val="000000">
                      <a:alpha val="43137"/>
                    </a:srgbClr>
                  </a:outerShdw>
                </a:effectLst>
              </a:rPr>
              <a:t>Hærbefalingsmand</a:t>
            </a:r>
          </a:p>
        </p:txBody>
      </p:sp>
    </p:spTree>
    <p:extLst>
      <p:ext uri="{BB962C8B-B14F-4D97-AF65-F5344CB8AC3E}">
        <p14:creationId xmlns:p14="http://schemas.microsoft.com/office/powerpoint/2010/main" val="18975827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a:xfrm>
            <a:off x="1734943" y="643310"/>
            <a:ext cx="10503815" cy="493900"/>
          </a:xfrm>
        </p:spPr>
        <p:txBody>
          <a:bodyPr anchor="ctr"/>
          <a:lstStyle/>
          <a:p>
            <a:r>
              <a:rPr lang="da-DK" sz="2200" dirty="0" smtClean="0"/>
              <a:t>Befalingsmandsuddannelse i Hæren</a:t>
            </a:r>
            <a:endParaRPr lang="da-DK" sz="2200" dirty="0"/>
          </a:p>
        </p:txBody>
      </p:sp>
      <p:sp>
        <p:nvSpPr>
          <p:cNvPr id="5" name="Pladsholder til tekst 4"/>
          <p:cNvSpPr>
            <a:spLocks noGrp="1"/>
          </p:cNvSpPr>
          <p:nvPr>
            <p:ph type="body" sz="quarter" idx="44"/>
          </p:nvPr>
        </p:nvSpPr>
        <p:spPr>
          <a:xfrm>
            <a:off x="4258328" y="6380140"/>
            <a:ext cx="3845802" cy="176400"/>
          </a:xfrm>
        </p:spPr>
        <p:txBody>
          <a:bodyPr/>
          <a:lstStyle/>
          <a:p>
            <a:endParaRPr lang="da-DK" dirty="0"/>
          </a:p>
        </p:txBody>
      </p:sp>
      <p:sp>
        <p:nvSpPr>
          <p:cNvPr id="6" name="Pladsholder til tekst 5"/>
          <p:cNvSpPr>
            <a:spLocks noGrp="1"/>
          </p:cNvSpPr>
          <p:nvPr>
            <p:ph type="body" sz="quarter" idx="45"/>
          </p:nvPr>
        </p:nvSpPr>
        <p:spPr>
          <a:xfrm>
            <a:off x="4258328" y="6534940"/>
            <a:ext cx="3845802" cy="126000"/>
          </a:xfrm>
        </p:spPr>
        <p:txBody>
          <a:bodyPr/>
          <a:lstStyle/>
          <a:p>
            <a:endParaRPr lang="da-DK"/>
          </a:p>
        </p:txBody>
      </p:sp>
      <p:sp>
        <p:nvSpPr>
          <p:cNvPr id="7" name="Pladsholder til tekst 6"/>
          <p:cNvSpPr>
            <a:spLocks noGrp="1"/>
          </p:cNvSpPr>
          <p:nvPr>
            <p:ph type="body" sz="quarter" idx="46"/>
          </p:nvPr>
        </p:nvSpPr>
        <p:spPr>
          <a:xfrm>
            <a:off x="4258328" y="6646540"/>
            <a:ext cx="3845802" cy="176400"/>
          </a:xfrm>
        </p:spPr>
        <p:txBody>
          <a:bodyPr/>
          <a:lstStyle/>
          <a:p>
            <a:endParaRPr lang="da-DK"/>
          </a:p>
        </p:txBody>
      </p:sp>
      <p:sp>
        <p:nvSpPr>
          <p:cNvPr id="10" name="Pladsholder til dato 9"/>
          <p:cNvSpPr>
            <a:spLocks noGrp="1"/>
          </p:cNvSpPr>
          <p:nvPr>
            <p:ph type="dt" sz="half" idx="30"/>
          </p:nvPr>
        </p:nvSpPr>
        <p:spPr/>
        <p:txBody>
          <a:bodyPr/>
          <a:lstStyle/>
          <a:p>
            <a:pPr>
              <a:defRPr/>
            </a:pPr>
            <a:fld id="{04E28649-079F-4D0A-9D20-603F9FA57290}" type="datetime2">
              <a:rPr lang="da-DK">
                <a:solidFill>
                  <a:srgbClr val="000000"/>
                </a:solidFill>
                <a:latin typeface="Verdana"/>
              </a:rPr>
              <a:pPr>
                <a:defRPr/>
              </a:pPr>
              <a:t>4. februar 2025</a:t>
            </a:fld>
            <a:endParaRPr lang="da-DK" dirty="0">
              <a:solidFill>
                <a:srgbClr val="000000"/>
              </a:solidFill>
              <a:latin typeface="Verdana"/>
            </a:endParaRPr>
          </a:p>
        </p:txBody>
      </p:sp>
      <p:sp>
        <p:nvSpPr>
          <p:cNvPr id="12" name="Pladsholder til diasnummer 11"/>
          <p:cNvSpPr>
            <a:spLocks noGrp="1"/>
          </p:cNvSpPr>
          <p:nvPr>
            <p:ph type="sldNum" sz="quarter" idx="32"/>
          </p:nvPr>
        </p:nvSpPr>
        <p:spPr/>
        <p:txBody>
          <a:bodyPr/>
          <a:lstStyle/>
          <a:p>
            <a:pPr>
              <a:defRPr/>
            </a:pPr>
            <a:fld id="{E1EA47C5-00F7-4308-9CB9-463B1A6058F9}" type="slidenum">
              <a:rPr lang="da-DK">
                <a:solidFill>
                  <a:srgbClr val="000000"/>
                </a:solidFill>
                <a:latin typeface="Verdana"/>
              </a:rPr>
              <a:pPr>
                <a:defRPr/>
              </a:pPr>
              <a:t>2</a:t>
            </a:fld>
            <a:endParaRPr lang="da-DK" dirty="0">
              <a:solidFill>
                <a:srgbClr val="000000"/>
              </a:solidFill>
              <a:latin typeface="Verdana"/>
            </a:endParaRPr>
          </a:p>
        </p:txBody>
      </p:sp>
      <p:sp>
        <p:nvSpPr>
          <p:cNvPr id="15" name="Rektangel 14"/>
          <p:cNvSpPr/>
          <p:nvPr/>
        </p:nvSpPr>
        <p:spPr>
          <a:xfrm flipV="1">
            <a:off x="1819784" y="1185446"/>
            <a:ext cx="5074952" cy="51280"/>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latin typeface="Verdana"/>
            </a:endParaRPr>
          </a:p>
        </p:txBody>
      </p:sp>
      <p:sp>
        <p:nvSpPr>
          <p:cNvPr id="17" name="Titel 1"/>
          <p:cNvSpPr txBox="1">
            <a:spLocks/>
          </p:cNvSpPr>
          <p:nvPr/>
        </p:nvSpPr>
        <p:spPr>
          <a:xfrm>
            <a:off x="922078" y="1738723"/>
            <a:ext cx="10557669" cy="3414854"/>
          </a:xfrm>
          <a:prstGeom prst="rect">
            <a:avLst/>
          </a:prstGeom>
        </p:spPr>
        <p:txBody>
          <a:bodyPr vert="horz" lIns="0" tIns="0" rIns="0" bIns="0" rtlCol="0" anchor="t" anchorCtr="0">
            <a:noAutofit/>
          </a:bodyPr>
          <a:lst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a:lstStyle>
          <a:p>
            <a:r>
              <a:rPr lang="da-DK" sz="2400" b="0" dirty="0" smtClean="0">
                <a:solidFill>
                  <a:srgbClr val="000000"/>
                </a:solidFill>
                <a:latin typeface="Verdana"/>
              </a:rPr>
              <a:t>  </a:t>
            </a:r>
            <a:endParaRPr lang="da-DK" sz="2400" b="0" dirty="0">
              <a:solidFill>
                <a:srgbClr val="000000"/>
              </a:solidFill>
              <a:latin typeface="Verdana"/>
            </a:endParaRPr>
          </a:p>
          <a:p>
            <a:pPr marL="342900" indent="-342900">
              <a:buFont typeface="Arial" panose="020B0604020202020204" pitchFamily="34" charset="0"/>
              <a:buChar char="•"/>
            </a:pP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r>
              <a:rPr lang="da-DK" sz="2400" b="0" dirty="0" smtClean="0">
                <a:solidFill>
                  <a:srgbClr val="000000"/>
                </a:solidFill>
                <a:latin typeface="Verdana"/>
              </a:rPr>
              <a:t> </a:t>
            </a: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pPr>
              <a:buFont typeface="Arial" pitchFamily="34" charset="0"/>
              <a:buChar char="•"/>
            </a:pPr>
            <a:endParaRPr lang="da-DK" sz="2400" b="0" dirty="0">
              <a:solidFill>
                <a:srgbClr val="000000"/>
              </a:solidFill>
              <a:latin typeface="Verdana"/>
            </a:endParaRPr>
          </a:p>
          <a:p>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p:txBody>
      </p:sp>
      <p:sp>
        <p:nvSpPr>
          <p:cNvPr id="16" name="Tekstfelt 15"/>
          <p:cNvSpPr txBox="1"/>
          <p:nvPr/>
        </p:nvSpPr>
        <p:spPr>
          <a:xfrm>
            <a:off x="9081984" y="1891331"/>
            <a:ext cx="5361733" cy="461665"/>
          </a:xfrm>
          <a:prstGeom prst="rect">
            <a:avLst/>
          </a:prstGeom>
          <a:noFill/>
        </p:spPr>
        <p:txBody>
          <a:bodyPr wrap="square" lIns="0" tIns="0" rIns="0" bIns="0" rtlCol="0">
            <a:spAutoFit/>
          </a:bodyPr>
          <a:lstStyle/>
          <a:p>
            <a:pPr>
              <a:lnSpc>
                <a:spcPct val="125000"/>
              </a:lnSpc>
            </a:pPr>
            <a:endParaRPr lang="da-DK" sz="1200" dirty="0" smtClean="0"/>
          </a:p>
          <a:p>
            <a:pPr>
              <a:lnSpc>
                <a:spcPct val="125000"/>
              </a:lnSpc>
            </a:pPr>
            <a:endParaRPr lang="da-DK" sz="1200" dirty="0" err="1"/>
          </a:p>
        </p:txBody>
      </p:sp>
      <p:graphicFrame>
        <p:nvGraphicFramePr>
          <p:cNvPr id="2" name="Diagram 1"/>
          <p:cNvGraphicFramePr/>
          <p:nvPr>
            <p:extLst>
              <p:ext uri="{D42A27DB-BD31-4B8C-83A1-F6EECF244321}">
                <p14:modId xmlns:p14="http://schemas.microsoft.com/office/powerpoint/2010/main" val="661884232"/>
              </p:ext>
            </p:extLst>
          </p:nvPr>
        </p:nvGraphicFramePr>
        <p:xfrm>
          <a:off x="2001489" y="1289004"/>
          <a:ext cx="8189798" cy="48116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2" descr="T:\FOTO\Fotoarkiv - GSE06\Gradstegn MTS\PNG\011_sergent_i.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833614" flipH="1">
            <a:off x="2245464" y="2800506"/>
            <a:ext cx="332711" cy="62839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T:\FOTO\Fotoarkiv - GSE06\Gradstegn MTS\TIF\012_ny_udnævnt_sergent_12_mdr_i.t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969953">
            <a:off x="2008320" y="2775454"/>
            <a:ext cx="332664" cy="6283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T:\FOTO\Fotoarkiv - GSE06\Gradstegn MTS\TIF\010_oversergent_i.t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8490" y="2750402"/>
            <a:ext cx="338873" cy="6401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T:\FOTO\Fotoarkiv - GSE06\Gradstegn MTS\TIF\009_seniorsergent_i.t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42298" y="2795770"/>
            <a:ext cx="324156" cy="61232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T:\FOTO\Fotoarkiv - GSE06\Gradstegn MTS\TIF\008_chefsergent_i.t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8220909" y="2783490"/>
            <a:ext cx="324156" cy="612324"/>
          </a:xfrm>
          <a:prstGeom prst="rect">
            <a:avLst/>
          </a:prstGeom>
          <a:noFill/>
          <a:extLst>
            <a:ext uri="{909E8E84-426E-40DD-AFC4-6F175D3DCCD1}">
              <a14:hiddenFill xmlns:a14="http://schemas.microsoft.com/office/drawing/2010/main">
                <a:solidFill>
                  <a:srgbClr val="FFFFFF"/>
                </a:solidFill>
              </a14:hiddenFill>
            </a:ext>
          </a:extLst>
        </p:spPr>
      </p:pic>
      <p:sp>
        <p:nvSpPr>
          <p:cNvPr id="22" name="Pil: vinkel 10">
            <a:extLst>
              <a:ext uri="{FF2B5EF4-FFF2-40B4-BE49-F238E27FC236}">
                <a16:creationId xmlns:a16="http://schemas.microsoft.com/office/drawing/2014/main" id="{292A5C31-4FC2-34CC-7B37-DACADD690027}"/>
              </a:ext>
            </a:extLst>
          </p:cNvPr>
          <p:cNvSpPr/>
          <p:nvPr/>
        </p:nvSpPr>
        <p:spPr>
          <a:xfrm>
            <a:off x="179109" y="6471994"/>
            <a:ext cx="11182629"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23" name="Tekstfelt 22">
            <a:extLst>
              <a:ext uri="{FF2B5EF4-FFF2-40B4-BE49-F238E27FC236}">
                <a16:creationId xmlns:a16="http://schemas.microsoft.com/office/drawing/2014/main" id="{19C32807-A148-7B55-A7B8-E16350399ACC}"/>
              </a:ext>
            </a:extLst>
          </p:cNvPr>
          <p:cNvSpPr txBox="1"/>
          <p:nvPr/>
        </p:nvSpPr>
        <p:spPr>
          <a:xfrm>
            <a:off x="1908251" y="6511462"/>
            <a:ext cx="957696"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2-3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4" name="Tekstfelt 23">
            <a:extLst>
              <a:ext uri="{FF2B5EF4-FFF2-40B4-BE49-F238E27FC236}">
                <a16:creationId xmlns:a16="http://schemas.microsoft.com/office/drawing/2014/main" id="{D2D6771C-08B3-1432-777D-079736BEBD10}"/>
              </a:ext>
            </a:extLst>
          </p:cNvPr>
          <p:cNvSpPr txBox="1"/>
          <p:nvPr/>
        </p:nvSpPr>
        <p:spPr>
          <a:xfrm>
            <a:off x="3688777" y="6530289"/>
            <a:ext cx="957696" cy="219291"/>
          </a:xfrm>
          <a:prstGeom prst="rect">
            <a:avLst/>
          </a:prstGeom>
          <a:noFill/>
        </p:spPr>
        <p:txBody>
          <a:bodyPr wrap="square" rtlCol="0">
            <a:spAutoFit/>
          </a:bodyPr>
          <a:lstStyle/>
          <a:p>
            <a:pPr algn="ctr"/>
            <a:r>
              <a:rPr lang="da-DK" sz="825" b="1" dirty="0">
                <a:solidFill>
                  <a:schemeClr val="bg1">
                    <a:lumMod val="50000"/>
                  </a:schemeClr>
                </a:solidFill>
                <a:latin typeface="Verdana" panose="020B0604030504040204" pitchFamily="34" charset="0"/>
                <a:ea typeface="Verdana" panose="020B0604030504040204" pitchFamily="34" charset="0"/>
              </a:rPr>
              <a:t>Ca. 6 år</a:t>
            </a:r>
          </a:p>
        </p:txBody>
      </p:sp>
      <p:sp>
        <p:nvSpPr>
          <p:cNvPr id="25" name="Tekstfelt 24">
            <a:extLst>
              <a:ext uri="{FF2B5EF4-FFF2-40B4-BE49-F238E27FC236}">
                <a16:creationId xmlns:a16="http://schemas.microsoft.com/office/drawing/2014/main" id="{0BE11CB0-F06C-F6B2-AFF0-B18B715EAFB8}"/>
              </a:ext>
            </a:extLst>
          </p:cNvPr>
          <p:cNvSpPr txBox="1"/>
          <p:nvPr/>
        </p:nvSpPr>
        <p:spPr>
          <a:xfrm>
            <a:off x="5403548" y="6538126"/>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0-12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6" name="Tekstfelt 25">
            <a:extLst>
              <a:ext uri="{FF2B5EF4-FFF2-40B4-BE49-F238E27FC236}">
                <a16:creationId xmlns:a16="http://schemas.microsoft.com/office/drawing/2014/main" id="{A71425F3-6B3B-7EEC-775F-6899FBC078C4}"/>
              </a:ext>
            </a:extLst>
          </p:cNvPr>
          <p:cNvSpPr txBox="1"/>
          <p:nvPr/>
        </p:nvSpPr>
        <p:spPr>
          <a:xfrm>
            <a:off x="386470" y="6512589"/>
            <a:ext cx="1118627"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KS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27" name="Tekstfelt 26">
            <a:extLst>
              <a:ext uri="{FF2B5EF4-FFF2-40B4-BE49-F238E27FC236}">
                <a16:creationId xmlns:a16="http://schemas.microsoft.com/office/drawing/2014/main" id="{4F9E8F78-311C-2B2A-246C-8F0AAB176959}"/>
              </a:ext>
            </a:extLst>
          </p:cNvPr>
          <p:cNvSpPr txBox="1"/>
          <p:nvPr/>
        </p:nvSpPr>
        <p:spPr>
          <a:xfrm>
            <a:off x="7491802" y="6492665"/>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6-18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36" name="Pil: vinkel 27">
            <a:extLst>
              <a:ext uri="{FF2B5EF4-FFF2-40B4-BE49-F238E27FC236}">
                <a16:creationId xmlns:a16="http://schemas.microsoft.com/office/drawing/2014/main" id="{C88FBBB5-3D00-48DB-05B2-068E52B97C8E}"/>
              </a:ext>
            </a:extLst>
          </p:cNvPr>
          <p:cNvSpPr/>
          <p:nvPr/>
        </p:nvSpPr>
        <p:spPr>
          <a:xfrm>
            <a:off x="1170700" y="6593071"/>
            <a:ext cx="753936" cy="8646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41" name="Pil: højre 21">
            <a:extLst>
              <a:ext uri="{FF2B5EF4-FFF2-40B4-BE49-F238E27FC236}">
                <a16:creationId xmlns:a16="http://schemas.microsoft.com/office/drawing/2014/main" id="{4B7476FF-9A69-D5E2-D7C5-4C26E695C471}"/>
              </a:ext>
            </a:extLst>
          </p:cNvPr>
          <p:cNvSpPr/>
          <p:nvPr/>
        </p:nvSpPr>
        <p:spPr>
          <a:xfrm rot="16200000">
            <a:off x="8332747" y="6574016"/>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42" name="Pladsholder til tekst 4"/>
          <p:cNvSpPr>
            <a:spLocks noGrp="1"/>
          </p:cNvSpPr>
          <p:nvPr>
            <p:ph type="body" sz="quarter" idx="44"/>
          </p:nvPr>
        </p:nvSpPr>
        <p:spPr>
          <a:xfrm>
            <a:off x="4258328" y="6042923"/>
            <a:ext cx="3845802" cy="176400"/>
          </a:xfrm>
        </p:spPr>
        <p:txBody>
          <a:bodyPr/>
          <a:lstStyle/>
          <a:p>
            <a:endParaRPr lang="da-DK" dirty="0"/>
          </a:p>
        </p:txBody>
      </p:sp>
      <p:sp>
        <p:nvSpPr>
          <p:cNvPr id="43" name="Pladsholder til tekst 5"/>
          <p:cNvSpPr>
            <a:spLocks noGrp="1"/>
          </p:cNvSpPr>
          <p:nvPr>
            <p:ph type="body" sz="quarter" idx="45"/>
          </p:nvPr>
        </p:nvSpPr>
        <p:spPr>
          <a:xfrm>
            <a:off x="4258328" y="6197723"/>
            <a:ext cx="3845802" cy="126000"/>
          </a:xfrm>
        </p:spPr>
        <p:txBody>
          <a:bodyPr/>
          <a:lstStyle/>
          <a:p>
            <a:endParaRPr lang="da-DK"/>
          </a:p>
        </p:txBody>
      </p:sp>
      <p:sp>
        <p:nvSpPr>
          <p:cNvPr id="44" name="Pladsholder til tekst 6"/>
          <p:cNvSpPr>
            <a:spLocks noGrp="1"/>
          </p:cNvSpPr>
          <p:nvPr>
            <p:ph type="body" sz="quarter" idx="46"/>
          </p:nvPr>
        </p:nvSpPr>
        <p:spPr>
          <a:xfrm>
            <a:off x="4258328" y="6309323"/>
            <a:ext cx="3845802" cy="176400"/>
          </a:xfrm>
        </p:spPr>
        <p:txBody>
          <a:bodyPr/>
          <a:lstStyle/>
          <a:p>
            <a:endParaRPr lang="da-DK"/>
          </a:p>
        </p:txBody>
      </p:sp>
      <p:sp>
        <p:nvSpPr>
          <p:cNvPr id="45" name="Pil: vinkel 10">
            <a:extLst>
              <a:ext uri="{FF2B5EF4-FFF2-40B4-BE49-F238E27FC236}">
                <a16:creationId xmlns:a16="http://schemas.microsoft.com/office/drawing/2014/main" id="{292A5C31-4FC2-34CC-7B37-DACADD690027}"/>
              </a:ext>
            </a:extLst>
          </p:cNvPr>
          <p:cNvSpPr/>
          <p:nvPr/>
        </p:nvSpPr>
        <p:spPr>
          <a:xfrm>
            <a:off x="736032" y="6134777"/>
            <a:ext cx="10625707"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46" name="Tekstfelt 45">
            <a:extLst>
              <a:ext uri="{FF2B5EF4-FFF2-40B4-BE49-F238E27FC236}">
                <a16:creationId xmlns:a16="http://schemas.microsoft.com/office/drawing/2014/main" id="{19C32807-A148-7B55-A7B8-E16350399ACC}"/>
              </a:ext>
            </a:extLst>
          </p:cNvPr>
          <p:cNvSpPr txBox="1"/>
          <p:nvPr/>
        </p:nvSpPr>
        <p:spPr>
          <a:xfrm>
            <a:off x="1956626" y="6192376"/>
            <a:ext cx="957696"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1</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7" name="Tekstfelt 46">
            <a:extLst>
              <a:ext uri="{FF2B5EF4-FFF2-40B4-BE49-F238E27FC236}">
                <a16:creationId xmlns:a16="http://schemas.microsoft.com/office/drawing/2014/main" id="{D2D6771C-08B3-1432-777D-079736BEBD10}"/>
              </a:ext>
            </a:extLst>
          </p:cNvPr>
          <p:cNvSpPr txBox="1"/>
          <p:nvPr/>
        </p:nvSpPr>
        <p:spPr>
          <a:xfrm>
            <a:off x="3688777" y="6166863"/>
            <a:ext cx="95769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Ca. </a:t>
            </a:r>
            <a:r>
              <a:rPr lang="da-DK" sz="825" b="1" dirty="0">
                <a:solidFill>
                  <a:schemeClr val="bg1">
                    <a:lumMod val="50000"/>
                  </a:schemeClr>
                </a:solidFill>
                <a:latin typeface="Verdana" panose="020B0604030504040204" pitchFamily="34" charset="0"/>
                <a:ea typeface="Verdana" panose="020B0604030504040204" pitchFamily="34" charset="0"/>
              </a:rPr>
              <a:t>4</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8" name="Tekstfelt 47">
            <a:extLst>
              <a:ext uri="{FF2B5EF4-FFF2-40B4-BE49-F238E27FC236}">
                <a16:creationId xmlns:a16="http://schemas.microsoft.com/office/drawing/2014/main" id="{0BE11CB0-F06C-F6B2-AFF0-B18B715EAFB8}"/>
              </a:ext>
            </a:extLst>
          </p:cNvPr>
          <p:cNvSpPr txBox="1"/>
          <p:nvPr/>
        </p:nvSpPr>
        <p:spPr>
          <a:xfrm>
            <a:off x="5420280" y="6146208"/>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8-10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9" name="Tekstfelt 48">
            <a:extLst>
              <a:ext uri="{FF2B5EF4-FFF2-40B4-BE49-F238E27FC236}">
                <a16:creationId xmlns:a16="http://schemas.microsoft.com/office/drawing/2014/main" id="{A71425F3-6B3B-7EEC-775F-6899FBC078C4}"/>
              </a:ext>
            </a:extLst>
          </p:cNvPr>
          <p:cNvSpPr txBox="1"/>
          <p:nvPr/>
        </p:nvSpPr>
        <p:spPr>
          <a:xfrm>
            <a:off x="893769" y="6187846"/>
            <a:ext cx="1118627"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VPL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50" name="Tekstfelt 49">
            <a:extLst>
              <a:ext uri="{FF2B5EF4-FFF2-40B4-BE49-F238E27FC236}">
                <a16:creationId xmlns:a16="http://schemas.microsoft.com/office/drawing/2014/main" id="{4F9E8F78-311C-2B2A-246C-8F0AAB176959}"/>
              </a:ext>
            </a:extLst>
          </p:cNvPr>
          <p:cNvSpPr txBox="1"/>
          <p:nvPr/>
        </p:nvSpPr>
        <p:spPr>
          <a:xfrm>
            <a:off x="7502079" y="6156232"/>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4-16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51" name="Pil: vinkel 27">
            <a:extLst>
              <a:ext uri="{FF2B5EF4-FFF2-40B4-BE49-F238E27FC236}">
                <a16:creationId xmlns:a16="http://schemas.microsoft.com/office/drawing/2014/main" id="{C88FBBB5-3D00-48DB-05B2-068E52B97C8E}"/>
              </a:ext>
            </a:extLst>
          </p:cNvPr>
          <p:cNvSpPr/>
          <p:nvPr/>
        </p:nvSpPr>
        <p:spPr>
          <a:xfrm>
            <a:off x="1680298" y="6239101"/>
            <a:ext cx="332098" cy="8815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2" name="Pil: vinkel 28">
            <a:extLst>
              <a:ext uri="{FF2B5EF4-FFF2-40B4-BE49-F238E27FC236}">
                <a16:creationId xmlns:a16="http://schemas.microsoft.com/office/drawing/2014/main" id="{BD5364A8-36BA-E2F9-77CB-A107C4CBF82B}"/>
              </a:ext>
            </a:extLst>
          </p:cNvPr>
          <p:cNvSpPr/>
          <p:nvPr/>
        </p:nvSpPr>
        <p:spPr>
          <a:xfrm>
            <a:off x="2395461" y="6239102"/>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3" name="Pil: vinkel 29">
            <a:extLst>
              <a:ext uri="{FF2B5EF4-FFF2-40B4-BE49-F238E27FC236}">
                <a16:creationId xmlns:a16="http://schemas.microsoft.com/office/drawing/2014/main" id="{C6EAE9AB-39AD-4D47-9C5B-FB421BF09A42}"/>
              </a:ext>
            </a:extLst>
          </p:cNvPr>
          <p:cNvSpPr/>
          <p:nvPr/>
        </p:nvSpPr>
        <p:spPr>
          <a:xfrm>
            <a:off x="4460372" y="623910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4" name="Pil: vinkel 30">
            <a:extLst>
              <a:ext uri="{FF2B5EF4-FFF2-40B4-BE49-F238E27FC236}">
                <a16:creationId xmlns:a16="http://schemas.microsoft.com/office/drawing/2014/main" id="{9D541816-4D83-762D-C48C-2B1732D1527F}"/>
              </a:ext>
            </a:extLst>
          </p:cNvPr>
          <p:cNvSpPr/>
          <p:nvPr/>
        </p:nvSpPr>
        <p:spPr>
          <a:xfrm>
            <a:off x="6307809" y="6210624"/>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5" name="Pil: højre 21">
            <a:extLst>
              <a:ext uri="{FF2B5EF4-FFF2-40B4-BE49-F238E27FC236}">
                <a16:creationId xmlns:a16="http://schemas.microsoft.com/office/drawing/2014/main" id="{4B7476FF-9A69-D5E2-D7C5-4C26E695C471}"/>
              </a:ext>
            </a:extLst>
          </p:cNvPr>
          <p:cNvSpPr/>
          <p:nvPr/>
        </p:nvSpPr>
        <p:spPr>
          <a:xfrm rot="16200000">
            <a:off x="8332747" y="6236799"/>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56" name="Pil: vinkel 30">
            <a:extLst>
              <a:ext uri="{FF2B5EF4-FFF2-40B4-BE49-F238E27FC236}">
                <a16:creationId xmlns:a16="http://schemas.microsoft.com/office/drawing/2014/main" id="{9D541816-4D83-762D-C48C-2B1732D1527F}"/>
              </a:ext>
            </a:extLst>
          </p:cNvPr>
          <p:cNvSpPr/>
          <p:nvPr/>
        </p:nvSpPr>
        <p:spPr>
          <a:xfrm>
            <a:off x="8524217" y="6219323"/>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pic>
        <p:nvPicPr>
          <p:cNvPr id="8" name="Billede 7"/>
          <p:cNvPicPr>
            <a:picLocks noChangeAspect="1"/>
          </p:cNvPicPr>
          <p:nvPr/>
        </p:nvPicPr>
        <p:blipFill>
          <a:blip r:embed="rId13"/>
          <a:stretch>
            <a:fillRect/>
          </a:stretch>
        </p:blipFill>
        <p:spPr>
          <a:xfrm>
            <a:off x="10868695" y="5162369"/>
            <a:ext cx="504911" cy="1027855"/>
          </a:xfrm>
          <a:prstGeom prst="rect">
            <a:avLst/>
          </a:prstGeom>
        </p:spPr>
      </p:pic>
      <p:pic>
        <p:nvPicPr>
          <p:cNvPr id="9" name="Billede 8"/>
          <p:cNvPicPr>
            <a:picLocks noChangeAspect="1"/>
          </p:cNvPicPr>
          <p:nvPr/>
        </p:nvPicPr>
        <p:blipFill>
          <a:blip r:embed="rId14"/>
          <a:stretch>
            <a:fillRect/>
          </a:stretch>
        </p:blipFill>
        <p:spPr>
          <a:xfrm>
            <a:off x="10141832" y="5170357"/>
            <a:ext cx="510457" cy="1011880"/>
          </a:xfrm>
          <a:prstGeom prst="rect">
            <a:avLst/>
          </a:prstGeom>
        </p:spPr>
      </p:pic>
      <p:sp>
        <p:nvSpPr>
          <p:cNvPr id="57" name="Pil: vinkel 30">
            <a:extLst>
              <a:ext uri="{FF2B5EF4-FFF2-40B4-BE49-F238E27FC236}">
                <a16:creationId xmlns:a16="http://schemas.microsoft.com/office/drawing/2014/main" id="{9D541816-4D83-762D-C48C-2B1732D1527F}"/>
              </a:ext>
            </a:extLst>
          </p:cNvPr>
          <p:cNvSpPr/>
          <p:nvPr/>
        </p:nvSpPr>
        <p:spPr>
          <a:xfrm>
            <a:off x="8524217" y="6563996"/>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8" name="Pil: vinkel 28">
            <a:extLst>
              <a:ext uri="{FF2B5EF4-FFF2-40B4-BE49-F238E27FC236}">
                <a16:creationId xmlns:a16="http://schemas.microsoft.com/office/drawing/2014/main" id="{BD5364A8-36BA-E2F9-77CB-A107C4CBF82B}"/>
              </a:ext>
            </a:extLst>
          </p:cNvPr>
          <p:cNvSpPr/>
          <p:nvPr/>
        </p:nvSpPr>
        <p:spPr>
          <a:xfrm>
            <a:off x="2405115" y="6580689"/>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9" name="Pil: vinkel 29">
            <a:extLst>
              <a:ext uri="{FF2B5EF4-FFF2-40B4-BE49-F238E27FC236}">
                <a16:creationId xmlns:a16="http://schemas.microsoft.com/office/drawing/2014/main" id="{C6EAE9AB-39AD-4D47-9C5B-FB421BF09A42}"/>
              </a:ext>
            </a:extLst>
          </p:cNvPr>
          <p:cNvSpPr/>
          <p:nvPr/>
        </p:nvSpPr>
        <p:spPr>
          <a:xfrm>
            <a:off x="4460372" y="659907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60" name="Pil: vinkel 30">
            <a:extLst>
              <a:ext uri="{FF2B5EF4-FFF2-40B4-BE49-F238E27FC236}">
                <a16:creationId xmlns:a16="http://schemas.microsoft.com/office/drawing/2014/main" id="{9D541816-4D83-762D-C48C-2B1732D1527F}"/>
              </a:ext>
            </a:extLst>
          </p:cNvPr>
          <p:cNvSpPr/>
          <p:nvPr/>
        </p:nvSpPr>
        <p:spPr>
          <a:xfrm>
            <a:off x="6323080" y="6580517"/>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2584360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a:xfrm>
            <a:off x="1819784" y="643310"/>
            <a:ext cx="10503815" cy="493900"/>
          </a:xfrm>
        </p:spPr>
        <p:txBody>
          <a:bodyPr anchor="ctr"/>
          <a:lstStyle/>
          <a:p>
            <a:r>
              <a:rPr lang="da-DK" sz="2200" dirty="0" smtClean="0"/>
              <a:t>Befalingsmandsuddannelse i Hæren</a:t>
            </a:r>
            <a:endParaRPr lang="da-DK" sz="2200" dirty="0"/>
          </a:p>
        </p:txBody>
      </p:sp>
      <p:sp>
        <p:nvSpPr>
          <p:cNvPr id="5" name="Pladsholder til tekst 4"/>
          <p:cNvSpPr>
            <a:spLocks noGrp="1"/>
          </p:cNvSpPr>
          <p:nvPr>
            <p:ph type="body" sz="quarter" idx="44"/>
          </p:nvPr>
        </p:nvSpPr>
        <p:spPr/>
        <p:txBody>
          <a:bodyPr/>
          <a:lstStyle/>
          <a:p>
            <a:endParaRPr lang="da-DK" dirty="0"/>
          </a:p>
        </p:txBody>
      </p:sp>
      <p:sp>
        <p:nvSpPr>
          <p:cNvPr id="6" name="Pladsholder til tekst 5"/>
          <p:cNvSpPr>
            <a:spLocks noGrp="1"/>
          </p:cNvSpPr>
          <p:nvPr>
            <p:ph type="body" sz="quarter" idx="45"/>
          </p:nvPr>
        </p:nvSpPr>
        <p:spPr/>
        <p:txBody>
          <a:bodyPr/>
          <a:lstStyle/>
          <a:p>
            <a:endParaRPr lang="da-DK"/>
          </a:p>
        </p:txBody>
      </p:sp>
      <p:sp>
        <p:nvSpPr>
          <p:cNvPr id="7" name="Pladsholder til tekst 6"/>
          <p:cNvSpPr>
            <a:spLocks noGrp="1"/>
          </p:cNvSpPr>
          <p:nvPr>
            <p:ph type="body" sz="quarter" idx="46"/>
          </p:nvPr>
        </p:nvSpPr>
        <p:spPr/>
        <p:txBody>
          <a:bodyPr/>
          <a:lstStyle/>
          <a:p>
            <a:endParaRPr lang="da-DK"/>
          </a:p>
        </p:txBody>
      </p:sp>
      <p:sp>
        <p:nvSpPr>
          <p:cNvPr id="10" name="Pladsholder til dato 9"/>
          <p:cNvSpPr>
            <a:spLocks noGrp="1"/>
          </p:cNvSpPr>
          <p:nvPr>
            <p:ph type="dt" sz="half" idx="30"/>
          </p:nvPr>
        </p:nvSpPr>
        <p:spPr/>
        <p:txBody>
          <a:bodyPr/>
          <a:lstStyle/>
          <a:p>
            <a:pPr>
              <a:defRPr/>
            </a:pPr>
            <a:fld id="{04E28649-079F-4D0A-9D20-603F9FA57290}" type="datetime2">
              <a:rPr lang="da-DK">
                <a:solidFill>
                  <a:srgbClr val="000000"/>
                </a:solidFill>
                <a:latin typeface="Verdana"/>
              </a:rPr>
              <a:pPr>
                <a:defRPr/>
              </a:pPr>
              <a:t>4. februar 2025</a:t>
            </a:fld>
            <a:endParaRPr lang="da-DK" dirty="0">
              <a:solidFill>
                <a:srgbClr val="000000"/>
              </a:solidFill>
              <a:latin typeface="Verdana"/>
            </a:endParaRPr>
          </a:p>
        </p:txBody>
      </p:sp>
      <p:sp>
        <p:nvSpPr>
          <p:cNvPr id="12" name="Pladsholder til diasnummer 11"/>
          <p:cNvSpPr>
            <a:spLocks noGrp="1"/>
          </p:cNvSpPr>
          <p:nvPr>
            <p:ph type="sldNum" sz="quarter" idx="32"/>
          </p:nvPr>
        </p:nvSpPr>
        <p:spPr/>
        <p:txBody>
          <a:bodyPr/>
          <a:lstStyle/>
          <a:p>
            <a:pPr>
              <a:defRPr/>
            </a:pPr>
            <a:fld id="{E1EA47C5-00F7-4308-9CB9-463B1A6058F9}" type="slidenum">
              <a:rPr lang="da-DK">
                <a:solidFill>
                  <a:srgbClr val="000000"/>
                </a:solidFill>
                <a:latin typeface="Verdana"/>
              </a:rPr>
              <a:pPr>
                <a:defRPr/>
              </a:pPr>
              <a:t>3</a:t>
            </a:fld>
            <a:endParaRPr lang="da-DK" dirty="0">
              <a:solidFill>
                <a:srgbClr val="000000"/>
              </a:solidFill>
              <a:latin typeface="Verdana"/>
            </a:endParaRPr>
          </a:p>
        </p:txBody>
      </p:sp>
      <p:sp>
        <p:nvSpPr>
          <p:cNvPr id="15" name="Rektangel 14"/>
          <p:cNvSpPr/>
          <p:nvPr/>
        </p:nvSpPr>
        <p:spPr>
          <a:xfrm flipV="1">
            <a:off x="1819784" y="1185446"/>
            <a:ext cx="5074952" cy="51280"/>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latin typeface="Verdana"/>
            </a:endParaRPr>
          </a:p>
        </p:txBody>
      </p:sp>
      <p:sp>
        <p:nvSpPr>
          <p:cNvPr id="17" name="Titel 1"/>
          <p:cNvSpPr txBox="1">
            <a:spLocks/>
          </p:cNvSpPr>
          <p:nvPr/>
        </p:nvSpPr>
        <p:spPr>
          <a:xfrm>
            <a:off x="922078" y="1738723"/>
            <a:ext cx="10557669" cy="3414854"/>
          </a:xfrm>
          <a:prstGeom prst="rect">
            <a:avLst/>
          </a:prstGeom>
        </p:spPr>
        <p:txBody>
          <a:bodyPr vert="horz" lIns="0" tIns="0" rIns="0" bIns="0" rtlCol="0" anchor="t" anchorCtr="0">
            <a:noAutofit/>
          </a:bodyPr>
          <a:lst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a:lstStyle>
          <a:p>
            <a:r>
              <a:rPr lang="da-DK" sz="2400" b="0" dirty="0" smtClean="0">
                <a:solidFill>
                  <a:srgbClr val="000000"/>
                </a:solidFill>
                <a:latin typeface="Verdana"/>
              </a:rPr>
              <a:t>  </a:t>
            </a:r>
            <a:endParaRPr lang="da-DK" sz="2400" b="0" dirty="0">
              <a:solidFill>
                <a:srgbClr val="000000"/>
              </a:solidFill>
              <a:latin typeface="Verdana"/>
            </a:endParaRPr>
          </a:p>
          <a:p>
            <a:pPr marL="342900" indent="-342900">
              <a:buFont typeface="Arial" panose="020B0604020202020204" pitchFamily="34" charset="0"/>
              <a:buChar char="•"/>
            </a:pP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r>
              <a:rPr lang="da-DK" sz="2400" b="0" dirty="0" smtClean="0">
                <a:solidFill>
                  <a:srgbClr val="000000"/>
                </a:solidFill>
                <a:latin typeface="Verdana"/>
              </a:rPr>
              <a:t> </a:t>
            </a: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pPr>
              <a:buFont typeface="Arial" pitchFamily="34" charset="0"/>
              <a:buChar char="•"/>
            </a:pPr>
            <a:endParaRPr lang="da-DK" sz="2400" b="0" dirty="0">
              <a:solidFill>
                <a:srgbClr val="000000"/>
              </a:solidFill>
              <a:latin typeface="Verdana"/>
            </a:endParaRPr>
          </a:p>
          <a:p>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p:txBody>
      </p:sp>
      <p:sp>
        <p:nvSpPr>
          <p:cNvPr id="16" name="Tekstfelt 15"/>
          <p:cNvSpPr txBox="1"/>
          <p:nvPr/>
        </p:nvSpPr>
        <p:spPr>
          <a:xfrm>
            <a:off x="9081984" y="1891331"/>
            <a:ext cx="5361733" cy="461665"/>
          </a:xfrm>
          <a:prstGeom prst="rect">
            <a:avLst/>
          </a:prstGeom>
          <a:noFill/>
        </p:spPr>
        <p:txBody>
          <a:bodyPr wrap="square" lIns="0" tIns="0" rIns="0" bIns="0" rtlCol="0">
            <a:spAutoFit/>
          </a:bodyPr>
          <a:lstStyle/>
          <a:p>
            <a:pPr>
              <a:lnSpc>
                <a:spcPct val="125000"/>
              </a:lnSpc>
            </a:pPr>
            <a:endParaRPr lang="da-DK" sz="1200" dirty="0" smtClean="0"/>
          </a:p>
          <a:p>
            <a:pPr>
              <a:lnSpc>
                <a:spcPct val="125000"/>
              </a:lnSpc>
            </a:pPr>
            <a:endParaRPr lang="da-DK" sz="1200" dirty="0" err="1"/>
          </a:p>
        </p:txBody>
      </p:sp>
      <p:graphicFrame>
        <p:nvGraphicFramePr>
          <p:cNvPr id="2" name="Diagram 1"/>
          <p:cNvGraphicFramePr/>
          <p:nvPr>
            <p:extLst>
              <p:ext uri="{D42A27DB-BD31-4B8C-83A1-F6EECF244321}">
                <p14:modId xmlns:p14="http://schemas.microsoft.com/office/powerpoint/2010/main" val="1078066253"/>
              </p:ext>
            </p:extLst>
          </p:nvPr>
        </p:nvGraphicFramePr>
        <p:xfrm>
          <a:off x="3758541" y="1334557"/>
          <a:ext cx="4675694" cy="46394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8" name="Picture 2" descr="T:\FOTO\Fotoarkiv - GSE06\Gradstegn MTS\TIF\012_ny_udnævnt_sergent_12_mdr_i.t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74308" y="2653787"/>
            <a:ext cx="895136" cy="169089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T:\FOTO\Fotoarkiv - GSE06\Gradstegn MTS\PNG\011_sergent_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H="1">
            <a:off x="9223332" y="2600701"/>
            <a:ext cx="895263" cy="1690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8833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a:xfrm>
            <a:off x="1734943" y="643310"/>
            <a:ext cx="10503815" cy="493900"/>
          </a:xfrm>
        </p:spPr>
        <p:txBody>
          <a:bodyPr anchor="ctr"/>
          <a:lstStyle/>
          <a:p>
            <a:r>
              <a:rPr lang="da-DK" sz="2200" dirty="0" smtClean="0"/>
              <a:t>Befalingsmandsuddannelse i Hæren</a:t>
            </a:r>
            <a:endParaRPr lang="da-DK" sz="2200" dirty="0"/>
          </a:p>
        </p:txBody>
      </p:sp>
      <p:sp>
        <p:nvSpPr>
          <p:cNvPr id="5" name="Pladsholder til tekst 4"/>
          <p:cNvSpPr>
            <a:spLocks noGrp="1"/>
          </p:cNvSpPr>
          <p:nvPr>
            <p:ph type="body" sz="quarter" idx="44"/>
          </p:nvPr>
        </p:nvSpPr>
        <p:spPr>
          <a:xfrm>
            <a:off x="4258328" y="6380140"/>
            <a:ext cx="3845802" cy="176400"/>
          </a:xfrm>
        </p:spPr>
        <p:txBody>
          <a:bodyPr/>
          <a:lstStyle/>
          <a:p>
            <a:endParaRPr lang="da-DK" dirty="0"/>
          </a:p>
        </p:txBody>
      </p:sp>
      <p:sp>
        <p:nvSpPr>
          <p:cNvPr id="6" name="Pladsholder til tekst 5"/>
          <p:cNvSpPr>
            <a:spLocks noGrp="1"/>
          </p:cNvSpPr>
          <p:nvPr>
            <p:ph type="body" sz="quarter" idx="45"/>
          </p:nvPr>
        </p:nvSpPr>
        <p:spPr>
          <a:xfrm>
            <a:off x="4258328" y="6534940"/>
            <a:ext cx="3845802" cy="126000"/>
          </a:xfrm>
        </p:spPr>
        <p:txBody>
          <a:bodyPr/>
          <a:lstStyle/>
          <a:p>
            <a:endParaRPr lang="da-DK"/>
          </a:p>
        </p:txBody>
      </p:sp>
      <p:sp>
        <p:nvSpPr>
          <p:cNvPr id="7" name="Pladsholder til tekst 6"/>
          <p:cNvSpPr>
            <a:spLocks noGrp="1"/>
          </p:cNvSpPr>
          <p:nvPr>
            <p:ph type="body" sz="quarter" idx="46"/>
          </p:nvPr>
        </p:nvSpPr>
        <p:spPr>
          <a:xfrm>
            <a:off x="4258328" y="6646540"/>
            <a:ext cx="3845802" cy="176400"/>
          </a:xfrm>
        </p:spPr>
        <p:txBody>
          <a:bodyPr/>
          <a:lstStyle/>
          <a:p>
            <a:endParaRPr lang="da-DK"/>
          </a:p>
        </p:txBody>
      </p:sp>
      <p:sp>
        <p:nvSpPr>
          <p:cNvPr id="10" name="Pladsholder til dato 9"/>
          <p:cNvSpPr>
            <a:spLocks noGrp="1"/>
          </p:cNvSpPr>
          <p:nvPr>
            <p:ph type="dt" sz="half" idx="30"/>
          </p:nvPr>
        </p:nvSpPr>
        <p:spPr/>
        <p:txBody>
          <a:bodyPr/>
          <a:lstStyle/>
          <a:p>
            <a:pPr>
              <a:defRPr/>
            </a:pPr>
            <a:fld id="{04E28649-079F-4D0A-9D20-603F9FA57290}" type="datetime2">
              <a:rPr lang="da-DK">
                <a:solidFill>
                  <a:srgbClr val="000000"/>
                </a:solidFill>
                <a:latin typeface="Verdana"/>
              </a:rPr>
              <a:pPr>
                <a:defRPr/>
              </a:pPr>
              <a:t>4. februar 2025</a:t>
            </a:fld>
            <a:endParaRPr lang="da-DK" dirty="0">
              <a:solidFill>
                <a:srgbClr val="000000"/>
              </a:solidFill>
              <a:latin typeface="Verdana"/>
            </a:endParaRPr>
          </a:p>
        </p:txBody>
      </p:sp>
      <p:sp>
        <p:nvSpPr>
          <p:cNvPr id="12" name="Pladsholder til diasnummer 11"/>
          <p:cNvSpPr>
            <a:spLocks noGrp="1"/>
          </p:cNvSpPr>
          <p:nvPr>
            <p:ph type="sldNum" sz="quarter" idx="32"/>
          </p:nvPr>
        </p:nvSpPr>
        <p:spPr/>
        <p:txBody>
          <a:bodyPr/>
          <a:lstStyle/>
          <a:p>
            <a:pPr>
              <a:defRPr/>
            </a:pPr>
            <a:fld id="{E1EA47C5-00F7-4308-9CB9-463B1A6058F9}" type="slidenum">
              <a:rPr lang="da-DK">
                <a:solidFill>
                  <a:srgbClr val="000000"/>
                </a:solidFill>
                <a:latin typeface="Verdana"/>
              </a:rPr>
              <a:pPr>
                <a:defRPr/>
              </a:pPr>
              <a:t>4</a:t>
            </a:fld>
            <a:endParaRPr lang="da-DK" dirty="0">
              <a:solidFill>
                <a:srgbClr val="000000"/>
              </a:solidFill>
              <a:latin typeface="Verdana"/>
            </a:endParaRPr>
          </a:p>
        </p:txBody>
      </p:sp>
      <p:sp>
        <p:nvSpPr>
          <p:cNvPr id="15" name="Rektangel 14"/>
          <p:cNvSpPr/>
          <p:nvPr/>
        </p:nvSpPr>
        <p:spPr>
          <a:xfrm flipV="1">
            <a:off x="1819784" y="1185446"/>
            <a:ext cx="5074952" cy="51280"/>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latin typeface="Verdana"/>
            </a:endParaRPr>
          </a:p>
        </p:txBody>
      </p:sp>
      <p:sp>
        <p:nvSpPr>
          <p:cNvPr id="17" name="Titel 1"/>
          <p:cNvSpPr txBox="1">
            <a:spLocks/>
          </p:cNvSpPr>
          <p:nvPr/>
        </p:nvSpPr>
        <p:spPr>
          <a:xfrm>
            <a:off x="922078" y="1738723"/>
            <a:ext cx="10557669" cy="3414854"/>
          </a:xfrm>
          <a:prstGeom prst="rect">
            <a:avLst/>
          </a:prstGeom>
        </p:spPr>
        <p:txBody>
          <a:bodyPr vert="horz" lIns="0" tIns="0" rIns="0" bIns="0" rtlCol="0" anchor="t" anchorCtr="0">
            <a:noAutofit/>
          </a:bodyPr>
          <a:lst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a:lstStyle>
          <a:p>
            <a:r>
              <a:rPr lang="da-DK" sz="2400" b="0" dirty="0" smtClean="0">
                <a:solidFill>
                  <a:srgbClr val="000000"/>
                </a:solidFill>
                <a:latin typeface="Verdana"/>
              </a:rPr>
              <a:t>  </a:t>
            </a:r>
            <a:endParaRPr lang="da-DK" sz="2400" b="0" dirty="0">
              <a:solidFill>
                <a:srgbClr val="000000"/>
              </a:solidFill>
              <a:latin typeface="Verdana"/>
            </a:endParaRPr>
          </a:p>
          <a:p>
            <a:pPr marL="342900" indent="-342900">
              <a:buFont typeface="Arial" panose="020B0604020202020204" pitchFamily="34" charset="0"/>
              <a:buChar char="•"/>
            </a:pP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r>
              <a:rPr lang="da-DK" sz="2400" b="0" dirty="0" smtClean="0">
                <a:solidFill>
                  <a:srgbClr val="000000"/>
                </a:solidFill>
                <a:latin typeface="Verdana"/>
              </a:rPr>
              <a:t> </a:t>
            </a: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pPr>
              <a:buFont typeface="Arial" pitchFamily="34" charset="0"/>
              <a:buChar char="•"/>
            </a:pPr>
            <a:endParaRPr lang="da-DK" sz="2400" b="0" dirty="0">
              <a:solidFill>
                <a:srgbClr val="000000"/>
              </a:solidFill>
              <a:latin typeface="Verdana"/>
            </a:endParaRPr>
          </a:p>
          <a:p>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p:txBody>
      </p:sp>
      <p:sp>
        <p:nvSpPr>
          <p:cNvPr id="16" name="Tekstfelt 15"/>
          <p:cNvSpPr txBox="1"/>
          <p:nvPr/>
        </p:nvSpPr>
        <p:spPr>
          <a:xfrm>
            <a:off x="9081984" y="1891331"/>
            <a:ext cx="5361733" cy="461665"/>
          </a:xfrm>
          <a:prstGeom prst="rect">
            <a:avLst/>
          </a:prstGeom>
          <a:noFill/>
        </p:spPr>
        <p:txBody>
          <a:bodyPr wrap="square" lIns="0" tIns="0" rIns="0" bIns="0" rtlCol="0">
            <a:spAutoFit/>
          </a:bodyPr>
          <a:lstStyle/>
          <a:p>
            <a:pPr>
              <a:lnSpc>
                <a:spcPct val="125000"/>
              </a:lnSpc>
            </a:pPr>
            <a:endParaRPr lang="da-DK" sz="1200" dirty="0" smtClean="0"/>
          </a:p>
          <a:p>
            <a:pPr>
              <a:lnSpc>
                <a:spcPct val="125000"/>
              </a:lnSpc>
            </a:pPr>
            <a:endParaRPr lang="da-DK" sz="1200" dirty="0" err="1"/>
          </a:p>
        </p:txBody>
      </p:sp>
      <p:graphicFrame>
        <p:nvGraphicFramePr>
          <p:cNvPr id="2" name="Diagram 1"/>
          <p:cNvGraphicFramePr/>
          <p:nvPr>
            <p:extLst/>
          </p:nvPr>
        </p:nvGraphicFramePr>
        <p:xfrm>
          <a:off x="2001489" y="1289004"/>
          <a:ext cx="8189798" cy="48116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2" descr="T:\FOTO\Fotoarkiv - GSE06\Gradstegn MTS\PNG\011_sergent_i.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833614" flipH="1">
            <a:off x="2245464" y="2800506"/>
            <a:ext cx="332711" cy="62839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T:\FOTO\Fotoarkiv - GSE06\Gradstegn MTS\TIF\012_ny_udnævnt_sergent_12_mdr_i.t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969953">
            <a:off x="2008320" y="2775454"/>
            <a:ext cx="332664" cy="6283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T:\FOTO\Fotoarkiv - GSE06\Gradstegn MTS\TIF\010_oversergent_i.t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8490" y="2750402"/>
            <a:ext cx="338873" cy="6401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T:\FOTO\Fotoarkiv - GSE06\Gradstegn MTS\TIF\009_seniorsergent_i.t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42298" y="2795770"/>
            <a:ext cx="324156" cy="61232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T:\FOTO\Fotoarkiv - GSE06\Gradstegn MTS\TIF\008_chefsergent_i.t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8220909" y="2783490"/>
            <a:ext cx="324156" cy="612324"/>
          </a:xfrm>
          <a:prstGeom prst="rect">
            <a:avLst/>
          </a:prstGeom>
          <a:noFill/>
          <a:extLst>
            <a:ext uri="{909E8E84-426E-40DD-AFC4-6F175D3DCCD1}">
              <a14:hiddenFill xmlns:a14="http://schemas.microsoft.com/office/drawing/2010/main">
                <a:solidFill>
                  <a:srgbClr val="FFFFFF"/>
                </a:solidFill>
              </a14:hiddenFill>
            </a:ext>
          </a:extLst>
        </p:spPr>
      </p:pic>
      <p:sp>
        <p:nvSpPr>
          <p:cNvPr id="22" name="Pil: vinkel 10">
            <a:extLst>
              <a:ext uri="{FF2B5EF4-FFF2-40B4-BE49-F238E27FC236}">
                <a16:creationId xmlns:a16="http://schemas.microsoft.com/office/drawing/2014/main" id="{292A5C31-4FC2-34CC-7B37-DACADD690027}"/>
              </a:ext>
            </a:extLst>
          </p:cNvPr>
          <p:cNvSpPr/>
          <p:nvPr/>
        </p:nvSpPr>
        <p:spPr>
          <a:xfrm>
            <a:off x="179109" y="6471994"/>
            <a:ext cx="11182629"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23" name="Tekstfelt 22">
            <a:extLst>
              <a:ext uri="{FF2B5EF4-FFF2-40B4-BE49-F238E27FC236}">
                <a16:creationId xmlns:a16="http://schemas.microsoft.com/office/drawing/2014/main" id="{19C32807-A148-7B55-A7B8-E16350399ACC}"/>
              </a:ext>
            </a:extLst>
          </p:cNvPr>
          <p:cNvSpPr txBox="1"/>
          <p:nvPr/>
        </p:nvSpPr>
        <p:spPr>
          <a:xfrm>
            <a:off x="1908251" y="6511462"/>
            <a:ext cx="957696"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2-3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4" name="Tekstfelt 23">
            <a:extLst>
              <a:ext uri="{FF2B5EF4-FFF2-40B4-BE49-F238E27FC236}">
                <a16:creationId xmlns:a16="http://schemas.microsoft.com/office/drawing/2014/main" id="{D2D6771C-08B3-1432-777D-079736BEBD10}"/>
              </a:ext>
            </a:extLst>
          </p:cNvPr>
          <p:cNvSpPr txBox="1"/>
          <p:nvPr/>
        </p:nvSpPr>
        <p:spPr>
          <a:xfrm>
            <a:off x="3688777" y="6530289"/>
            <a:ext cx="957696" cy="219291"/>
          </a:xfrm>
          <a:prstGeom prst="rect">
            <a:avLst/>
          </a:prstGeom>
          <a:noFill/>
        </p:spPr>
        <p:txBody>
          <a:bodyPr wrap="square" rtlCol="0">
            <a:spAutoFit/>
          </a:bodyPr>
          <a:lstStyle/>
          <a:p>
            <a:pPr algn="ctr"/>
            <a:r>
              <a:rPr lang="da-DK" sz="825" b="1" dirty="0">
                <a:solidFill>
                  <a:schemeClr val="bg1">
                    <a:lumMod val="50000"/>
                  </a:schemeClr>
                </a:solidFill>
                <a:latin typeface="Verdana" panose="020B0604030504040204" pitchFamily="34" charset="0"/>
                <a:ea typeface="Verdana" panose="020B0604030504040204" pitchFamily="34" charset="0"/>
              </a:rPr>
              <a:t>Ca. 6 år</a:t>
            </a:r>
          </a:p>
        </p:txBody>
      </p:sp>
      <p:sp>
        <p:nvSpPr>
          <p:cNvPr id="25" name="Tekstfelt 24">
            <a:extLst>
              <a:ext uri="{FF2B5EF4-FFF2-40B4-BE49-F238E27FC236}">
                <a16:creationId xmlns:a16="http://schemas.microsoft.com/office/drawing/2014/main" id="{0BE11CB0-F06C-F6B2-AFF0-B18B715EAFB8}"/>
              </a:ext>
            </a:extLst>
          </p:cNvPr>
          <p:cNvSpPr txBox="1"/>
          <p:nvPr/>
        </p:nvSpPr>
        <p:spPr>
          <a:xfrm>
            <a:off x="5403548" y="6538126"/>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0-12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6" name="Tekstfelt 25">
            <a:extLst>
              <a:ext uri="{FF2B5EF4-FFF2-40B4-BE49-F238E27FC236}">
                <a16:creationId xmlns:a16="http://schemas.microsoft.com/office/drawing/2014/main" id="{A71425F3-6B3B-7EEC-775F-6899FBC078C4}"/>
              </a:ext>
            </a:extLst>
          </p:cNvPr>
          <p:cNvSpPr txBox="1"/>
          <p:nvPr/>
        </p:nvSpPr>
        <p:spPr>
          <a:xfrm>
            <a:off x="386470" y="6512589"/>
            <a:ext cx="1118627"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KS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27" name="Tekstfelt 26">
            <a:extLst>
              <a:ext uri="{FF2B5EF4-FFF2-40B4-BE49-F238E27FC236}">
                <a16:creationId xmlns:a16="http://schemas.microsoft.com/office/drawing/2014/main" id="{4F9E8F78-311C-2B2A-246C-8F0AAB176959}"/>
              </a:ext>
            </a:extLst>
          </p:cNvPr>
          <p:cNvSpPr txBox="1"/>
          <p:nvPr/>
        </p:nvSpPr>
        <p:spPr>
          <a:xfrm>
            <a:off x="7491802" y="6492665"/>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6-18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36" name="Pil: vinkel 27">
            <a:extLst>
              <a:ext uri="{FF2B5EF4-FFF2-40B4-BE49-F238E27FC236}">
                <a16:creationId xmlns:a16="http://schemas.microsoft.com/office/drawing/2014/main" id="{C88FBBB5-3D00-48DB-05B2-068E52B97C8E}"/>
              </a:ext>
            </a:extLst>
          </p:cNvPr>
          <p:cNvSpPr/>
          <p:nvPr/>
        </p:nvSpPr>
        <p:spPr>
          <a:xfrm>
            <a:off x="1170700" y="6593071"/>
            <a:ext cx="753936" cy="8646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41" name="Pil: højre 21">
            <a:extLst>
              <a:ext uri="{FF2B5EF4-FFF2-40B4-BE49-F238E27FC236}">
                <a16:creationId xmlns:a16="http://schemas.microsoft.com/office/drawing/2014/main" id="{4B7476FF-9A69-D5E2-D7C5-4C26E695C471}"/>
              </a:ext>
            </a:extLst>
          </p:cNvPr>
          <p:cNvSpPr/>
          <p:nvPr/>
        </p:nvSpPr>
        <p:spPr>
          <a:xfrm rot="16200000">
            <a:off x="8332747" y="6574016"/>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42" name="Pladsholder til tekst 4"/>
          <p:cNvSpPr>
            <a:spLocks noGrp="1"/>
          </p:cNvSpPr>
          <p:nvPr>
            <p:ph type="body" sz="quarter" idx="44"/>
          </p:nvPr>
        </p:nvSpPr>
        <p:spPr>
          <a:xfrm>
            <a:off x="4258328" y="6042923"/>
            <a:ext cx="3845802" cy="176400"/>
          </a:xfrm>
        </p:spPr>
        <p:txBody>
          <a:bodyPr/>
          <a:lstStyle/>
          <a:p>
            <a:endParaRPr lang="da-DK" dirty="0"/>
          </a:p>
        </p:txBody>
      </p:sp>
      <p:sp>
        <p:nvSpPr>
          <p:cNvPr id="43" name="Pladsholder til tekst 5"/>
          <p:cNvSpPr>
            <a:spLocks noGrp="1"/>
          </p:cNvSpPr>
          <p:nvPr>
            <p:ph type="body" sz="quarter" idx="45"/>
          </p:nvPr>
        </p:nvSpPr>
        <p:spPr>
          <a:xfrm>
            <a:off x="4258328" y="6197723"/>
            <a:ext cx="3845802" cy="126000"/>
          </a:xfrm>
        </p:spPr>
        <p:txBody>
          <a:bodyPr/>
          <a:lstStyle/>
          <a:p>
            <a:endParaRPr lang="da-DK"/>
          </a:p>
        </p:txBody>
      </p:sp>
      <p:sp>
        <p:nvSpPr>
          <p:cNvPr id="44" name="Pladsholder til tekst 6"/>
          <p:cNvSpPr>
            <a:spLocks noGrp="1"/>
          </p:cNvSpPr>
          <p:nvPr>
            <p:ph type="body" sz="quarter" idx="46"/>
          </p:nvPr>
        </p:nvSpPr>
        <p:spPr>
          <a:xfrm>
            <a:off x="4258328" y="6309323"/>
            <a:ext cx="3845802" cy="176400"/>
          </a:xfrm>
        </p:spPr>
        <p:txBody>
          <a:bodyPr/>
          <a:lstStyle/>
          <a:p>
            <a:endParaRPr lang="da-DK"/>
          </a:p>
        </p:txBody>
      </p:sp>
      <p:sp>
        <p:nvSpPr>
          <p:cNvPr id="45" name="Pil: vinkel 10">
            <a:extLst>
              <a:ext uri="{FF2B5EF4-FFF2-40B4-BE49-F238E27FC236}">
                <a16:creationId xmlns:a16="http://schemas.microsoft.com/office/drawing/2014/main" id="{292A5C31-4FC2-34CC-7B37-DACADD690027}"/>
              </a:ext>
            </a:extLst>
          </p:cNvPr>
          <p:cNvSpPr/>
          <p:nvPr/>
        </p:nvSpPr>
        <p:spPr>
          <a:xfrm>
            <a:off x="736032" y="6134777"/>
            <a:ext cx="10625707"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46" name="Tekstfelt 45">
            <a:extLst>
              <a:ext uri="{FF2B5EF4-FFF2-40B4-BE49-F238E27FC236}">
                <a16:creationId xmlns:a16="http://schemas.microsoft.com/office/drawing/2014/main" id="{19C32807-A148-7B55-A7B8-E16350399ACC}"/>
              </a:ext>
            </a:extLst>
          </p:cNvPr>
          <p:cNvSpPr txBox="1"/>
          <p:nvPr/>
        </p:nvSpPr>
        <p:spPr>
          <a:xfrm>
            <a:off x="1956626" y="6192376"/>
            <a:ext cx="957696"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1</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7" name="Tekstfelt 46">
            <a:extLst>
              <a:ext uri="{FF2B5EF4-FFF2-40B4-BE49-F238E27FC236}">
                <a16:creationId xmlns:a16="http://schemas.microsoft.com/office/drawing/2014/main" id="{D2D6771C-08B3-1432-777D-079736BEBD10}"/>
              </a:ext>
            </a:extLst>
          </p:cNvPr>
          <p:cNvSpPr txBox="1"/>
          <p:nvPr/>
        </p:nvSpPr>
        <p:spPr>
          <a:xfrm>
            <a:off x="3688777" y="6166863"/>
            <a:ext cx="95769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Ca. </a:t>
            </a:r>
            <a:r>
              <a:rPr lang="da-DK" sz="825" b="1" dirty="0">
                <a:solidFill>
                  <a:schemeClr val="bg1">
                    <a:lumMod val="50000"/>
                  </a:schemeClr>
                </a:solidFill>
                <a:latin typeface="Verdana" panose="020B0604030504040204" pitchFamily="34" charset="0"/>
                <a:ea typeface="Verdana" panose="020B0604030504040204" pitchFamily="34" charset="0"/>
              </a:rPr>
              <a:t>4</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8" name="Tekstfelt 47">
            <a:extLst>
              <a:ext uri="{FF2B5EF4-FFF2-40B4-BE49-F238E27FC236}">
                <a16:creationId xmlns:a16="http://schemas.microsoft.com/office/drawing/2014/main" id="{0BE11CB0-F06C-F6B2-AFF0-B18B715EAFB8}"/>
              </a:ext>
            </a:extLst>
          </p:cNvPr>
          <p:cNvSpPr txBox="1"/>
          <p:nvPr/>
        </p:nvSpPr>
        <p:spPr>
          <a:xfrm>
            <a:off x="5420280" y="6146208"/>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8-10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9" name="Tekstfelt 48">
            <a:extLst>
              <a:ext uri="{FF2B5EF4-FFF2-40B4-BE49-F238E27FC236}">
                <a16:creationId xmlns:a16="http://schemas.microsoft.com/office/drawing/2014/main" id="{A71425F3-6B3B-7EEC-775F-6899FBC078C4}"/>
              </a:ext>
            </a:extLst>
          </p:cNvPr>
          <p:cNvSpPr txBox="1"/>
          <p:nvPr/>
        </p:nvSpPr>
        <p:spPr>
          <a:xfrm>
            <a:off x="893769" y="6187846"/>
            <a:ext cx="1118627"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VPL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50" name="Tekstfelt 49">
            <a:extLst>
              <a:ext uri="{FF2B5EF4-FFF2-40B4-BE49-F238E27FC236}">
                <a16:creationId xmlns:a16="http://schemas.microsoft.com/office/drawing/2014/main" id="{4F9E8F78-311C-2B2A-246C-8F0AAB176959}"/>
              </a:ext>
            </a:extLst>
          </p:cNvPr>
          <p:cNvSpPr txBox="1"/>
          <p:nvPr/>
        </p:nvSpPr>
        <p:spPr>
          <a:xfrm>
            <a:off x="7502079" y="6156232"/>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4-16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51" name="Pil: vinkel 27">
            <a:extLst>
              <a:ext uri="{FF2B5EF4-FFF2-40B4-BE49-F238E27FC236}">
                <a16:creationId xmlns:a16="http://schemas.microsoft.com/office/drawing/2014/main" id="{C88FBBB5-3D00-48DB-05B2-068E52B97C8E}"/>
              </a:ext>
            </a:extLst>
          </p:cNvPr>
          <p:cNvSpPr/>
          <p:nvPr/>
        </p:nvSpPr>
        <p:spPr>
          <a:xfrm>
            <a:off x="1680298" y="6239101"/>
            <a:ext cx="332098" cy="8815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2" name="Pil: vinkel 28">
            <a:extLst>
              <a:ext uri="{FF2B5EF4-FFF2-40B4-BE49-F238E27FC236}">
                <a16:creationId xmlns:a16="http://schemas.microsoft.com/office/drawing/2014/main" id="{BD5364A8-36BA-E2F9-77CB-A107C4CBF82B}"/>
              </a:ext>
            </a:extLst>
          </p:cNvPr>
          <p:cNvSpPr/>
          <p:nvPr/>
        </p:nvSpPr>
        <p:spPr>
          <a:xfrm>
            <a:off x="2395461" y="6239102"/>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3" name="Pil: vinkel 29">
            <a:extLst>
              <a:ext uri="{FF2B5EF4-FFF2-40B4-BE49-F238E27FC236}">
                <a16:creationId xmlns:a16="http://schemas.microsoft.com/office/drawing/2014/main" id="{C6EAE9AB-39AD-4D47-9C5B-FB421BF09A42}"/>
              </a:ext>
            </a:extLst>
          </p:cNvPr>
          <p:cNvSpPr/>
          <p:nvPr/>
        </p:nvSpPr>
        <p:spPr>
          <a:xfrm>
            <a:off x="4460372" y="623910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4" name="Pil: vinkel 30">
            <a:extLst>
              <a:ext uri="{FF2B5EF4-FFF2-40B4-BE49-F238E27FC236}">
                <a16:creationId xmlns:a16="http://schemas.microsoft.com/office/drawing/2014/main" id="{9D541816-4D83-762D-C48C-2B1732D1527F}"/>
              </a:ext>
            </a:extLst>
          </p:cNvPr>
          <p:cNvSpPr/>
          <p:nvPr/>
        </p:nvSpPr>
        <p:spPr>
          <a:xfrm>
            <a:off x="6307809" y="6210624"/>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5" name="Pil: højre 21">
            <a:extLst>
              <a:ext uri="{FF2B5EF4-FFF2-40B4-BE49-F238E27FC236}">
                <a16:creationId xmlns:a16="http://schemas.microsoft.com/office/drawing/2014/main" id="{4B7476FF-9A69-D5E2-D7C5-4C26E695C471}"/>
              </a:ext>
            </a:extLst>
          </p:cNvPr>
          <p:cNvSpPr/>
          <p:nvPr/>
        </p:nvSpPr>
        <p:spPr>
          <a:xfrm rot="16200000">
            <a:off x="8332747" y="6236799"/>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56" name="Pil: vinkel 30">
            <a:extLst>
              <a:ext uri="{FF2B5EF4-FFF2-40B4-BE49-F238E27FC236}">
                <a16:creationId xmlns:a16="http://schemas.microsoft.com/office/drawing/2014/main" id="{9D541816-4D83-762D-C48C-2B1732D1527F}"/>
              </a:ext>
            </a:extLst>
          </p:cNvPr>
          <p:cNvSpPr/>
          <p:nvPr/>
        </p:nvSpPr>
        <p:spPr>
          <a:xfrm>
            <a:off x="8524217" y="6219323"/>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pic>
        <p:nvPicPr>
          <p:cNvPr id="8" name="Billede 7"/>
          <p:cNvPicPr>
            <a:picLocks noChangeAspect="1"/>
          </p:cNvPicPr>
          <p:nvPr/>
        </p:nvPicPr>
        <p:blipFill>
          <a:blip r:embed="rId13"/>
          <a:stretch>
            <a:fillRect/>
          </a:stretch>
        </p:blipFill>
        <p:spPr>
          <a:xfrm>
            <a:off x="10868695" y="5162369"/>
            <a:ext cx="504911" cy="1027855"/>
          </a:xfrm>
          <a:prstGeom prst="rect">
            <a:avLst/>
          </a:prstGeom>
        </p:spPr>
      </p:pic>
      <p:pic>
        <p:nvPicPr>
          <p:cNvPr id="9" name="Billede 8"/>
          <p:cNvPicPr>
            <a:picLocks noChangeAspect="1"/>
          </p:cNvPicPr>
          <p:nvPr/>
        </p:nvPicPr>
        <p:blipFill>
          <a:blip r:embed="rId14"/>
          <a:stretch>
            <a:fillRect/>
          </a:stretch>
        </p:blipFill>
        <p:spPr>
          <a:xfrm>
            <a:off x="10141832" y="5170357"/>
            <a:ext cx="510457" cy="1011880"/>
          </a:xfrm>
          <a:prstGeom prst="rect">
            <a:avLst/>
          </a:prstGeom>
        </p:spPr>
      </p:pic>
      <p:sp>
        <p:nvSpPr>
          <p:cNvPr id="57" name="Pil: vinkel 30">
            <a:extLst>
              <a:ext uri="{FF2B5EF4-FFF2-40B4-BE49-F238E27FC236}">
                <a16:creationId xmlns:a16="http://schemas.microsoft.com/office/drawing/2014/main" id="{9D541816-4D83-762D-C48C-2B1732D1527F}"/>
              </a:ext>
            </a:extLst>
          </p:cNvPr>
          <p:cNvSpPr/>
          <p:nvPr/>
        </p:nvSpPr>
        <p:spPr>
          <a:xfrm>
            <a:off x="8524217" y="6563996"/>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8" name="Pil: vinkel 28">
            <a:extLst>
              <a:ext uri="{FF2B5EF4-FFF2-40B4-BE49-F238E27FC236}">
                <a16:creationId xmlns:a16="http://schemas.microsoft.com/office/drawing/2014/main" id="{BD5364A8-36BA-E2F9-77CB-A107C4CBF82B}"/>
              </a:ext>
            </a:extLst>
          </p:cNvPr>
          <p:cNvSpPr/>
          <p:nvPr/>
        </p:nvSpPr>
        <p:spPr>
          <a:xfrm>
            <a:off x="2405115" y="6580689"/>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9" name="Pil: vinkel 29">
            <a:extLst>
              <a:ext uri="{FF2B5EF4-FFF2-40B4-BE49-F238E27FC236}">
                <a16:creationId xmlns:a16="http://schemas.microsoft.com/office/drawing/2014/main" id="{C6EAE9AB-39AD-4D47-9C5B-FB421BF09A42}"/>
              </a:ext>
            </a:extLst>
          </p:cNvPr>
          <p:cNvSpPr/>
          <p:nvPr/>
        </p:nvSpPr>
        <p:spPr>
          <a:xfrm>
            <a:off x="4460372" y="659907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60" name="Pil: vinkel 30">
            <a:extLst>
              <a:ext uri="{FF2B5EF4-FFF2-40B4-BE49-F238E27FC236}">
                <a16:creationId xmlns:a16="http://schemas.microsoft.com/office/drawing/2014/main" id="{9D541816-4D83-762D-C48C-2B1732D1527F}"/>
              </a:ext>
            </a:extLst>
          </p:cNvPr>
          <p:cNvSpPr/>
          <p:nvPr/>
        </p:nvSpPr>
        <p:spPr>
          <a:xfrm>
            <a:off x="6323080" y="6580517"/>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0091192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a:xfrm>
            <a:off x="1819784" y="643310"/>
            <a:ext cx="10503815" cy="493900"/>
          </a:xfrm>
        </p:spPr>
        <p:txBody>
          <a:bodyPr anchor="ctr"/>
          <a:lstStyle/>
          <a:p>
            <a:r>
              <a:rPr lang="da-DK" sz="2200" dirty="0" smtClean="0"/>
              <a:t>Befalingsmandsuddannelse i Hæren</a:t>
            </a:r>
            <a:endParaRPr lang="da-DK" sz="2200" dirty="0"/>
          </a:p>
        </p:txBody>
      </p:sp>
      <p:sp>
        <p:nvSpPr>
          <p:cNvPr id="5" name="Pladsholder til tekst 4"/>
          <p:cNvSpPr>
            <a:spLocks noGrp="1"/>
          </p:cNvSpPr>
          <p:nvPr>
            <p:ph type="body" sz="quarter" idx="44"/>
          </p:nvPr>
        </p:nvSpPr>
        <p:spPr/>
        <p:txBody>
          <a:bodyPr/>
          <a:lstStyle/>
          <a:p>
            <a:endParaRPr lang="da-DK" dirty="0"/>
          </a:p>
        </p:txBody>
      </p:sp>
      <p:sp>
        <p:nvSpPr>
          <p:cNvPr id="6" name="Pladsholder til tekst 5"/>
          <p:cNvSpPr>
            <a:spLocks noGrp="1"/>
          </p:cNvSpPr>
          <p:nvPr>
            <p:ph type="body" sz="quarter" idx="45"/>
          </p:nvPr>
        </p:nvSpPr>
        <p:spPr/>
        <p:txBody>
          <a:bodyPr/>
          <a:lstStyle/>
          <a:p>
            <a:endParaRPr lang="da-DK"/>
          </a:p>
        </p:txBody>
      </p:sp>
      <p:sp>
        <p:nvSpPr>
          <p:cNvPr id="7" name="Pladsholder til tekst 6"/>
          <p:cNvSpPr>
            <a:spLocks noGrp="1"/>
          </p:cNvSpPr>
          <p:nvPr>
            <p:ph type="body" sz="quarter" idx="46"/>
          </p:nvPr>
        </p:nvSpPr>
        <p:spPr/>
        <p:txBody>
          <a:bodyPr/>
          <a:lstStyle/>
          <a:p>
            <a:endParaRPr lang="da-DK"/>
          </a:p>
        </p:txBody>
      </p:sp>
      <p:sp>
        <p:nvSpPr>
          <p:cNvPr id="10" name="Pladsholder til dato 9"/>
          <p:cNvSpPr>
            <a:spLocks noGrp="1"/>
          </p:cNvSpPr>
          <p:nvPr>
            <p:ph type="dt" sz="half" idx="30"/>
          </p:nvPr>
        </p:nvSpPr>
        <p:spPr/>
        <p:txBody>
          <a:bodyPr/>
          <a:lstStyle/>
          <a:p>
            <a:pPr>
              <a:defRPr/>
            </a:pPr>
            <a:fld id="{04E28649-079F-4D0A-9D20-603F9FA57290}" type="datetime2">
              <a:rPr lang="da-DK">
                <a:solidFill>
                  <a:srgbClr val="000000"/>
                </a:solidFill>
                <a:latin typeface="Verdana"/>
              </a:rPr>
              <a:pPr>
                <a:defRPr/>
              </a:pPr>
              <a:t>4. februar 2025</a:t>
            </a:fld>
            <a:endParaRPr lang="da-DK" dirty="0">
              <a:solidFill>
                <a:srgbClr val="000000"/>
              </a:solidFill>
              <a:latin typeface="Verdana"/>
            </a:endParaRPr>
          </a:p>
        </p:txBody>
      </p:sp>
      <p:sp>
        <p:nvSpPr>
          <p:cNvPr id="12" name="Pladsholder til diasnummer 11"/>
          <p:cNvSpPr>
            <a:spLocks noGrp="1"/>
          </p:cNvSpPr>
          <p:nvPr>
            <p:ph type="sldNum" sz="quarter" idx="32"/>
          </p:nvPr>
        </p:nvSpPr>
        <p:spPr/>
        <p:txBody>
          <a:bodyPr/>
          <a:lstStyle/>
          <a:p>
            <a:pPr>
              <a:defRPr/>
            </a:pPr>
            <a:fld id="{E1EA47C5-00F7-4308-9CB9-463B1A6058F9}" type="slidenum">
              <a:rPr lang="da-DK">
                <a:solidFill>
                  <a:srgbClr val="000000"/>
                </a:solidFill>
                <a:latin typeface="Verdana"/>
              </a:rPr>
              <a:pPr>
                <a:defRPr/>
              </a:pPr>
              <a:t>5</a:t>
            </a:fld>
            <a:endParaRPr lang="da-DK" dirty="0">
              <a:solidFill>
                <a:srgbClr val="000000"/>
              </a:solidFill>
              <a:latin typeface="Verdana"/>
            </a:endParaRPr>
          </a:p>
        </p:txBody>
      </p:sp>
      <p:sp>
        <p:nvSpPr>
          <p:cNvPr id="15" name="Rektangel 14"/>
          <p:cNvSpPr/>
          <p:nvPr/>
        </p:nvSpPr>
        <p:spPr>
          <a:xfrm flipV="1">
            <a:off x="1819784" y="1185446"/>
            <a:ext cx="5074952" cy="51280"/>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latin typeface="Verdana"/>
            </a:endParaRPr>
          </a:p>
        </p:txBody>
      </p:sp>
      <p:sp>
        <p:nvSpPr>
          <p:cNvPr id="17" name="Titel 1"/>
          <p:cNvSpPr txBox="1">
            <a:spLocks/>
          </p:cNvSpPr>
          <p:nvPr/>
        </p:nvSpPr>
        <p:spPr>
          <a:xfrm>
            <a:off x="922078" y="1738723"/>
            <a:ext cx="10557669" cy="3414854"/>
          </a:xfrm>
          <a:prstGeom prst="rect">
            <a:avLst/>
          </a:prstGeom>
        </p:spPr>
        <p:txBody>
          <a:bodyPr vert="horz" lIns="0" tIns="0" rIns="0" bIns="0" rtlCol="0" anchor="t" anchorCtr="0">
            <a:noAutofit/>
          </a:bodyPr>
          <a:lst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a:lstStyle>
          <a:p>
            <a:r>
              <a:rPr lang="da-DK" sz="2400" b="0" dirty="0" smtClean="0">
                <a:solidFill>
                  <a:srgbClr val="000000"/>
                </a:solidFill>
                <a:latin typeface="Verdana"/>
              </a:rPr>
              <a:t>  </a:t>
            </a:r>
            <a:endParaRPr lang="da-DK" sz="2400" b="0" dirty="0">
              <a:solidFill>
                <a:srgbClr val="000000"/>
              </a:solidFill>
              <a:latin typeface="Verdana"/>
            </a:endParaRPr>
          </a:p>
          <a:p>
            <a:pPr marL="342900" indent="-342900">
              <a:buFont typeface="Arial" panose="020B0604020202020204" pitchFamily="34" charset="0"/>
              <a:buChar char="•"/>
            </a:pP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r>
              <a:rPr lang="da-DK" sz="2400" b="0" dirty="0" smtClean="0">
                <a:solidFill>
                  <a:srgbClr val="000000"/>
                </a:solidFill>
                <a:latin typeface="Verdana"/>
              </a:rPr>
              <a:t> </a:t>
            </a: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pPr>
              <a:buFont typeface="Arial" pitchFamily="34" charset="0"/>
              <a:buChar char="•"/>
            </a:pPr>
            <a:endParaRPr lang="da-DK" sz="2400" b="0" dirty="0">
              <a:solidFill>
                <a:srgbClr val="000000"/>
              </a:solidFill>
              <a:latin typeface="Verdana"/>
            </a:endParaRPr>
          </a:p>
          <a:p>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p:txBody>
      </p:sp>
      <p:sp>
        <p:nvSpPr>
          <p:cNvPr id="16" name="Tekstfelt 15"/>
          <p:cNvSpPr txBox="1"/>
          <p:nvPr/>
        </p:nvSpPr>
        <p:spPr>
          <a:xfrm>
            <a:off x="9081984" y="1891331"/>
            <a:ext cx="5361733" cy="461665"/>
          </a:xfrm>
          <a:prstGeom prst="rect">
            <a:avLst/>
          </a:prstGeom>
          <a:noFill/>
        </p:spPr>
        <p:txBody>
          <a:bodyPr wrap="square" lIns="0" tIns="0" rIns="0" bIns="0" rtlCol="0">
            <a:spAutoFit/>
          </a:bodyPr>
          <a:lstStyle/>
          <a:p>
            <a:pPr>
              <a:lnSpc>
                <a:spcPct val="125000"/>
              </a:lnSpc>
            </a:pPr>
            <a:endParaRPr lang="da-DK" sz="1200" dirty="0" smtClean="0"/>
          </a:p>
          <a:p>
            <a:pPr>
              <a:lnSpc>
                <a:spcPct val="125000"/>
              </a:lnSpc>
            </a:pPr>
            <a:endParaRPr lang="da-DK" sz="1200" dirty="0" err="1"/>
          </a:p>
        </p:txBody>
      </p:sp>
      <p:graphicFrame>
        <p:nvGraphicFramePr>
          <p:cNvPr id="2" name="Diagram 1"/>
          <p:cNvGraphicFramePr/>
          <p:nvPr>
            <p:extLst>
              <p:ext uri="{D42A27DB-BD31-4B8C-83A1-F6EECF244321}">
                <p14:modId xmlns:p14="http://schemas.microsoft.com/office/powerpoint/2010/main" val="1719275085"/>
              </p:ext>
            </p:extLst>
          </p:nvPr>
        </p:nvGraphicFramePr>
        <p:xfrm>
          <a:off x="4914153" y="1476929"/>
          <a:ext cx="2573517" cy="46394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3" descr="T:\FOTO\Fotoarkiv - GSE06\Gradstegn MTS\TIF\010_oversergent_i.t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48679" y="2646706"/>
            <a:ext cx="908921" cy="1716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902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a:xfrm>
            <a:off x="1734943" y="643310"/>
            <a:ext cx="10503815" cy="493900"/>
          </a:xfrm>
        </p:spPr>
        <p:txBody>
          <a:bodyPr anchor="ctr"/>
          <a:lstStyle/>
          <a:p>
            <a:r>
              <a:rPr lang="da-DK" sz="2200" dirty="0" smtClean="0"/>
              <a:t>Befalingsmandsuddannelse i Hæren</a:t>
            </a:r>
            <a:endParaRPr lang="da-DK" sz="2200" dirty="0"/>
          </a:p>
        </p:txBody>
      </p:sp>
      <p:sp>
        <p:nvSpPr>
          <p:cNvPr id="5" name="Pladsholder til tekst 4"/>
          <p:cNvSpPr>
            <a:spLocks noGrp="1"/>
          </p:cNvSpPr>
          <p:nvPr>
            <p:ph type="body" sz="quarter" idx="44"/>
          </p:nvPr>
        </p:nvSpPr>
        <p:spPr>
          <a:xfrm>
            <a:off x="4258328" y="6380140"/>
            <a:ext cx="3845802" cy="176400"/>
          </a:xfrm>
        </p:spPr>
        <p:txBody>
          <a:bodyPr/>
          <a:lstStyle/>
          <a:p>
            <a:endParaRPr lang="da-DK" dirty="0"/>
          </a:p>
        </p:txBody>
      </p:sp>
      <p:sp>
        <p:nvSpPr>
          <p:cNvPr id="6" name="Pladsholder til tekst 5"/>
          <p:cNvSpPr>
            <a:spLocks noGrp="1"/>
          </p:cNvSpPr>
          <p:nvPr>
            <p:ph type="body" sz="quarter" idx="45"/>
          </p:nvPr>
        </p:nvSpPr>
        <p:spPr>
          <a:xfrm>
            <a:off x="4258328" y="6534940"/>
            <a:ext cx="3845802" cy="126000"/>
          </a:xfrm>
        </p:spPr>
        <p:txBody>
          <a:bodyPr/>
          <a:lstStyle/>
          <a:p>
            <a:endParaRPr lang="da-DK"/>
          </a:p>
        </p:txBody>
      </p:sp>
      <p:sp>
        <p:nvSpPr>
          <p:cNvPr id="7" name="Pladsholder til tekst 6"/>
          <p:cNvSpPr>
            <a:spLocks noGrp="1"/>
          </p:cNvSpPr>
          <p:nvPr>
            <p:ph type="body" sz="quarter" idx="46"/>
          </p:nvPr>
        </p:nvSpPr>
        <p:spPr>
          <a:xfrm>
            <a:off x="4258328" y="6646540"/>
            <a:ext cx="3845802" cy="176400"/>
          </a:xfrm>
        </p:spPr>
        <p:txBody>
          <a:bodyPr/>
          <a:lstStyle/>
          <a:p>
            <a:endParaRPr lang="da-DK"/>
          </a:p>
        </p:txBody>
      </p:sp>
      <p:sp>
        <p:nvSpPr>
          <p:cNvPr id="10" name="Pladsholder til dato 9"/>
          <p:cNvSpPr>
            <a:spLocks noGrp="1"/>
          </p:cNvSpPr>
          <p:nvPr>
            <p:ph type="dt" sz="half" idx="30"/>
          </p:nvPr>
        </p:nvSpPr>
        <p:spPr/>
        <p:txBody>
          <a:bodyPr/>
          <a:lstStyle/>
          <a:p>
            <a:pPr>
              <a:defRPr/>
            </a:pPr>
            <a:fld id="{04E28649-079F-4D0A-9D20-603F9FA57290}" type="datetime2">
              <a:rPr lang="da-DK">
                <a:solidFill>
                  <a:srgbClr val="000000"/>
                </a:solidFill>
                <a:latin typeface="Verdana"/>
              </a:rPr>
              <a:pPr>
                <a:defRPr/>
              </a:pPr>
              <a:t>4. februar 2025</a:t>
            </a:fld>
            <a:endParaRPr lang="da-DK" dirty="0">
              <a:solidFill>
                <a:srgbClr val="000000"/>
              </a:solidFill>
              <a:latin typeface="Verdana"/>
            </a:endParaRPr>
          </a:p>
        </p:txBody>
      </p:sp>
      <p:sp>
        <p:nvSpPr>
          <p:cNvPr id="12" name="Pladsholder til diasnummer 11"/>
          <p:cNvSpPr>
            <a:spLocks noGrp="1"/>
          </p:cNvSpPr>
          <p:nvPr>
            <p:ph type="sldNum" sz="quarter" idx="32"/>
          </p:nvPr>
        </p:nvSpPr>
        <p:spPr/>
        <p:txBody>
          <a:bodyPr/>
          <a:lstStyle/>
          <a:p>
            <a:pPr>
              <a:defRPr/>
            </a:pPr>
            <a:fld id="{E1EA47C5-00F7-4308-9CB9-463B1A6058F9}" type="slidenum">
              <a:rPr lang="da-DK">
                <a:solidFill>
                  <a:srgbClr val="000000"/>
                </a:solidFill>
                <a:latin typeface="Verdana"/>
              </a:rPr>
              <a:pPr>
                <a:defRPr/>
              </a:pPr>
              <a:t>6</a:t>
            </a:fld>
            <a:endParaRPr lang="da-DK" dirty="0">
              <a:solidFill>
                <a:srgbClr val="000000"/>
              </a:solidFill>
              <a:latin typeface="Verdana"/>
            </a:endParaRPr>
          </a:p>
        </p:txBody>
      </p:sp>
      <p:sp>
        <p:nvSpPr>
          <p:cNvPr id="15" name="Rektangel 14"/>
          <p:cNvSpPr/>
          <p:nvPr/>
        </p:nvSpPr>
        <p:spPr>
          <a:xfrm flipV="1">
            <a:off x="1819784" y="1185446"/>
            <a:ext cx="5074952" cy="51280"/>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latin typeface="Verdana"/>
            </a:endParaRPr>
          </a:p>
        </p:txBody>
      </p:sp>
      <p:sp>
        <p:nvSpPr>
          <p:cNvPr id="17" name="Titel 1"/>
          <p:cNvSpPr txBox="1">
            <a:spLocks/>
          </p:cNvSpPr>
          <p:nvPr/>
        </p:nvSpPr>
        <p:spPr>
          <a:xfrm>
            <a:off x="922078" y="1738723"/>
            <a:ext cx="10557669" cy="3414854"/>
          </a:xfrm>
          <a:prstGeom prst="rect">
            <a:avLst/>
          </a:prstGeom>
        </p:spPr>
        <p:txBody>
          <a:bodyPr vert="horz" lIns="0" tIns="0" rIns="0" bIns="0" rtlCol="0" anchor="t" anchorCtr="0">
            <a:noAutofit/>
          </a:bodyPr>
          <a:lst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a:lstStyle>
          <a:p>
            <a:r>
              <a:rPr lang="da-DK" sz="2400" b="0" dirty="0" smtClean="0">
                <a:solidFill>
                  <a:srgbClr val="000000"/>
                </a:solidFill>
                <a:latin typeface="Verdana"/>
              </a:rPr>
              <a:t>  </a:t>
            </a:r>
            <a:endParaRPr lang="da-DK" sz="2400" b="0" dirty="0">
              <a:solidFill>
                <a:srgbClr val="000000"/>
              </a:solidFill>
              <a:latin typeface="Verdana"/>
            </a:endParaRPr>
          </a:p>
          <a:p>
            <a:pPr marL="342900" indent="-342900">
              <a:buFont typeface="Arial" panose="020B0604020202020204" pitchFamily="34" charset="0"/>
              <a:buChar char="•"/>
            </a:pP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r>
              <a:rPr lang="da-DK" sz="2400" b="0" dirty="0" smtClean="0">
                <a:solidFill>
                  <a:srgbClr val="000000"/>
                </a:solidFill>
                <a:latin typeface="Verdana"/>
              </a:rPr>
              <a:t> </a:t>
            </a:r>
            <a:endParaRPr lang="da-DK" sz="2400" b="0" dirty="0">
              <a:solidFill>
                <a:srgbClr val="000000"/>
              </a:solidFill>
              <a:latin typeface="Verdana"/>
            </a:endParaRPr>
          </a:p>
          <a:p>
            <a:endParaRPr lang="da-DK" sz="2400" b="0" dirty="0">
              <a:solidFill>
                <a:srgbClr val="000000"/>
              </a:solidFill>
              <a:latin typeface="Verdana"/>
            </a:endParaRPr>
          </a:p>
          <a:p>
            <a:endParaRPr lang="da-DK" sz="2400" b="0" dirty="0">
              <a:solidFill>
                <a:srgbClr val="000000"/>
              </a:solidFill>
              <a:latin typeface="Verdana"/>
            </a:endParaRPr>
          </a:p>
          <a:p>
            <a:pPr>
              <a:buFont typeface="Arial" pitchFamily="34" charset="0"/>
              <a:buChar char="•"/>
            </a:pPr>
            <a:endParaRPr lang="da-DK" sz="2400" b="0" dirty="0">
              <a:solidFill>
                <a:srgbClr val="000000"/>
              </a:solidFill>
              <a:latin typeface="Verdana"/>
            </a:endParaRPr>
          </a:p>
          <a:p>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a:p>
            <a:pPr marL="285750" indent="-285750">
              <a:buFont typeface="Wingdings" panose="05000000000000000000" pitchFamily="2" charset="2"/>
              <a:buChar char="§"/>
            </a:pPr>
            <a:endParaRPr lang="da-DK" sz="2200" b="0" dirty="0">
              <a:solidFill>
                <a:srgbClr val="000000"/>
              </a:solidFill>
              <a:latin typeface="Verdana"/>
            </a:endParaRPr>
          </a:p>
        </p:txBody>
      </p:sp>
      <p:sp>
        <p:nvSpPr>
          <p:cNvPr id="16" name="Tekstfelt 15"/>
          <p:cNvSpPr txBox="1"/>
          <p:nvPr/>
        </p:nvSpPr>
        <p:spPr>
          <a:xfrm>
            <a:off x="9081984" y="1891331"/>
            <a:ext cx="5361733" cy="461665"/>
          </a:xfrm>
          <a:prstGeom prst="rect">
            <a:avLst/>
          </a:prstGeom>
          <a:noFill/>
        </p:spPr>
        <p:txBody>
          <a:bodyPr wrap="square" lIns="0" tIns="0" rIns="0" bIns="0" rtlCol="0">
            <a:spAutoFit/>
          </a:bodyPr>
          <a:lstStyle/>
          <a:p>
            <a:pPr>
              <a:lnSpc>
                <a:spcPct val="125000"/>
              </a:lnSpc>
            </a:pPr>
            <a:endParaRPr lang="da-DK" sz="1200" dirty="0" smtClean="0"/>
          </a:p>
          <a:p>
            <a:pPr>
              <a:lnSpc>
                <a:spcPct val="125000"/>
              </a:lnSpc>
            </a:pPr>
            <a:endParaRPr lang="da-DK" sz="1200" dirty="0" err="1"/>
          </a:p>
        </p:txBody>
      </p:sp>
      <p:graphicFrame>
        <p:nvGraphicFramePr>
          <p:cNvPr id="2" name="Diagram 1"/>
          <p:cNvGraphicFramePr/>
          <p:nvPr>
            <p:extLst/>
          </p:nvPr>
        </p:nvGraphicFramePr>
        <p:xfrm>
          <a:off x="2001489" y="1289004"/>
          <a:ext cx="8189798" cy="48116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2" descr="T:\FOTO\Fotoarkiv - GSE06\Gradstegn MTS\PNG\011_sergent_i.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833614" flipH="1">
            <a:off x="2245464" y="2800506"/>
            <a:ext cx="332711" cy="62839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T:\FOTO\Fotoarkiv - GSE06\Gradstegn MTS\TIF\012_ny_udnævnt_sergent_12_mdr_i.t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969953">
            <a:off x="2008320" y="2775454"/>
            <a:ext cx="332664" cy="6283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T:\FOTO\Fotoarkiv - GSE06\Gradstegn MTS\TIF\010_oversergent_i.t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8490" y="2750402"/>
            <a:ext cx="338873" cy="6401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T:\FOTO\Fotoarkiv - GSE06\Gradstegn MTS\TIF\009_seniorsergent_i.t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42298" y="2795770"/>
            <a:ext cx="324156" cy="61232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T:\FOTO\Fotoarkiv - GSE06\Gradstegn MTS\TIF\008_chefsergent_i.t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8220909" y="2783490"/>
            <a:ext cx="324156" cy="612324"/>
          </a:xfrm>
          <a:prstGeom prst="rect">
            <a:avLst/>
          </a:prstGeom>
          <a:noFill/>
          <a:extLst>
            <a:ext uri="{909E8E84-426E-40DD-AFC4-6F175D3DCCD1}">
              <a14:hiddenFill xmlns:a14="http://schemas.microsoft.com/office/drawing/2010/main">
                <a:solidFill>
                  <a:srgbClr val="FFFFFF"/>
                </a:solidFill>
              </a14:hiddenFill>
            </a:ext>
          </a:extLst>
        </p:spPr>
      </p:pic>
      <p:sp>
        <p:nvSpPr>
          <p:cNvPr id="22" name="Pil: vinkel 10">
            <a:extLst>
              <a:ext uri="{FF2B5EF4-FFF2-40B4-BE49-F238E27FC236}">
                <a16:creationId xmlns:a16="http://schemas.microsoft.com/office/drawing/2014/main" id="{292A5C31-4FC2-34CC-7B37-DACADD690027}"/>
              </a:ext>
            </a:extLst>
          </p:cNvPr>
          <p:cNvSpPr/>
          <p:nvPr/>
        </p:nvSpPr>
        <p:spPr>
          <a:xfrm>
            <a:off x="179109" y="6471994"/>
            <a:ext cx="11182629"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23" name="Tekstfelt 22">
            <a:extLst>
              <a:ext uri="{FF2B5EF4-FFF2-40B4-BE49-F238E27FC236}">
                <a16:creationId xmlns:a16="http://schemas.microsoft.com/office/drawing/2014/main" id="{19C32807-A148-7B55-A7B8-E16350399ACC}"/>
              </a:ext>
            </a:extLst>
          </p:cNvPr>
          <p:cNvSpPr txBox="1"/>
          <p:nvPr/>
        </p:nvSpPr>
        <p:spPr>
          <a:xfrm>
            <a:off x="1908251" y="6511462"/>
            <a:ext cx="957696"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2-3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4" name="Tekstfelt 23">
            <a:extLst>
              <a:ext uri="{FF2B5EF4-FFF2-40B4-BE49-F238E27FC236}">
                <a16:creationId xmlns:a16="http://schemas.microsoft.com/office/drawing/2014/main" id="{D2D6771C-08B3-1432-777D-079736BEBD10}"/>
              </a:ext>
            </a:extLst>
          </p:cNvPr>
          <p:cNvSpPr txBox="1"/>
          <p:nvPr/>
        </p:nvSpPr>
        <p:spPr>
          <a:xfrm>
            <a:off x="3688777" y="6530289"/>
            <a:ext cx="957696" cy="219291"/>
          </a:xfrm>
          <a:prstGeom prst="rect">
            <a:avLst/>
          </a:prstGeom>
          <a:noFill/>
        </p:spPr>
        <p:txBody>
          <a:bodyPr wrap="square" rtlCol="0">
            <a:spAutoFit/>
          </a:bodyPr>
          <a:lstStyle/>
          <a:p>
            <a:pPr algn="ctr"/>
            <a:r>
              <a:rPr lang="da-DK" sz="825" b="1" dirty="0">
                <a:solidFill>
                  <a:schemeClr val="bg1">
                    <a:lumMod val="50000"/>
                  </a:schemeClr>
                </a:solidFill>
                <a:latin typeface="Verdana" panose="020B0604030504040204" pitchFamily="34" charset="0"/>
                <a:ea typeface="Verdana" panose="020B0604030504040204" pitchFamily="34" charset="0"/>
              </a:rPr>
              <a:t>Ca. 6 år</a:t>
            </a:r>
          </a:p>
        </p:txBody>
      </p:sp>
      <p:sp>
        <p:nvSpPr>
          <p:cNvPr id="25" name="Tekstfelt 24">
            <a:extLst>
              <a:ext uri="{FF2B5EF4-FFF2-40B4-BE49-F238E27FC236}">
                <a16:creationId xmlns:a16="http://schemas.microsoft.com/office/drawing/2014/main" id="{0BE11CB0-F06C-F6B2-AFF0-B18B715EAFB8}"/>
              </a:ext>
            </a:extLst>
          </p:cNvPr>
          <p:cNvSpPr txBox="1"/>
          <p:nvPr/>
        </p:nvSpPr>
        <p:spPr>
          <a:xfrm>
            <a:off x="5403548" y="6538126"/>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0-12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26" name="Tekstfelt 25">
            <a:extLst>
              <a:ext uri="{FF2B5EF4-FFF2-40B4-BE49-F238E27FC236}">
                <a16:creationId xmlns:a16="http://schemas.microsoft.com/office/drawing/2014/main" id="{A71425F3-6B3B-7EEC-775F-6899FBC078C4}"/>
              </a:ext>
            </a:extLst>
          </p:cNvPr>
          <p:cNvSpPr txBox="1"/>
          <p:nvPr/>
        </p:nvSpPr>
        <p:spPr>
          <a:xfrm>
            <a:off x="386470" y="6512589"/>
            <a:ext cx="1118627"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KS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27" name="Tekstfelt 26">
            <a:extLst>
              <a:ext uri="{FF2B5EF4-FFF2-40B4-BE49-F238E27FC236}">
                <a16:creationId xmlns:a16="http://schemas.microsoft.com/office/drawing/2014/main" id="{4F9E8F78-311C-2B2A-246C-8F0AAB176959}"/>
              </a:ext>
            </a:extLst>
          </p:cNvPr>
          <p:cNvSpPr txBox="1"/>
          <p:nvPr/>
        </p:nvSpPr>
        <p:spPr>
          <a:xfrm>
            <a:off x="7491802" y="6492665"/>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6-18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36" name="Pil: vinkel 27">
            <a:extLst>
              <a:ext uri="{FF2B5EF4-FFF2-40B4-BE49-F238E27FC236}">
                <a16:creationId xmlns:a16="http://schemas.microsoft.com/office/drawing/2014/main" id="{C88FBBB5-3D00-48DB-05B2-068E52B97C8E}"/>
              </a:ext>
            </a:extLst>
          </p:cNvPr>
          <p:cNvSpPr/>
          <p:nvPr/>
        </p:nvSpPr>
        <p:spPr>
          <a:xfrm>
            <a:off x="1170700" y="6593071"/>
            <a:ext cx="753936" cy="8646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41" name="Pil: højre 21">
            <a:extLst>
              <a:ext uri="{FF2B5EF4-FFF2-40B4-BE49-F238E27FC236}">
                <a16:creationId xmlns:a16="http://schemas.microsoft.com/office/drawing/2014/main" id="{4B7476FF-9A69-D5E2-D7C5-4C26E695C471}"/>
              </a:ext>
            </a:extLst>
          </p:cNvPr>
          <p:cNvSpPr/>
          <p:nvPr/>
        </p:nvSpPr>
        <p:spPr>
          <a:xfrm rot="16200000">
            <a:off x="8332747" y="6574016"/>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42" name="Pladsholder til tekst 4"/>
          <p:cNvSpPr>
            <a:spLocks noGrp="1"/>
          </p:cNvSpPr>
          <p:nvPr>
            <p:ph type="body" sz="quarter" idx="44"/>
          </p:nvPr>
        </p:nvSpPr>
        <p:spPr>
          <a:xfrm>
            <a:off x="4258328" y="6042923"/>
            <a:ext cx="3845802" cy="176400"/>
          </a:xfrm>
        </p:spPr>
        <p:txBody>
          <a:bodyPr/>
          <a:lstStyle/>
          <a:p>
            <a:endParaRPr lang="da-DK" dirty="0"/>
          </a:p>
        </p:txBody>
      </p:sp>
      <p:sp>
        <p:nvSpPr>
          <p:cNvPr id="43" name="Pladsholder til tekst 5"/>
          <p:cNvSpPr>
            <a:spLocks noGrp="1"/>
          </p:cNvSpPr>
          <p:nvPr>
            <p:ph type="body" sz="quarter" idx="45"/>
          </p:nvPr>
        </p:nvSpPr>
        <p:spPr>
          <a:xfrm>
            <a:off x="4258328" y="6197723"/>
            <a:ext cx="3845802" cy="126000"/>
          </a:xfrm>
        </p:spPr>
        <p:txBody>
          <a:bodyPr/>
          <a:lstStyle/>
          <a:p>
            <a:endParaRPr lang="da-DK"/>
          </a:p>
        </p:txBody>
      </p:sp>
      <p:sp>
        <p:nvSpPr>
          <p:cNvPr id="44" name="Pladsholder til tekst 6"/>
          <p:cNvSpPr>
            <a:spLocks noGrp="1"/>
          </p:cNvSpPr>
          <p:nvPr>
            <p:ph type="body" sz="quarter" idx="46"/>
          </p:nvPr>
        </p:nvSpPr>
        <p:spPr>
          <a:xfrm>
            <a:off x="4258328" y="6309323"/>
            <a:ext cx="3845802" cy="176400"/>
          </a:xfrm>
        </p:spPr>
        <p:txBody>
          <a:bodyPr/>
          <a:lstStyle/>
          <a:p>
            <a:endParaRPr lang="da-DK"/>
          </a:p>
        </p:txBody>
      </p:sp>
      <p:sp>
        <p:nvSpPr>
          <p:cNvPr id="45" name="Pil: vinkel 10">
            <a:extLst>
              <a:ext uri="{FF2B5EF4-FFF2-40B4-BE49-F238E27FC236}">
                <a16:creationId xmlns:a16="http://schemas.microsoft.com/office/drawing/2014/main" id="{292A5C31-4FC2-34CC-7B37-DACADD690027}"/>
              </a:ext>
            </a:extLst>
          </p:cNvPr>
          <p:cNvSpPr/>
          <p:nvPr/>
        </p:nvSpPr>
        <p:spPr>
          <a:xfrm>
            <a:off x="736032" y="6134777"/>
            <a:ext cx="10625707" cy="305199"/>
          </a:xfrm>
          <a:prstGeom prst="chevron">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a-DK" sz="135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46" name="Tekstfelt 45">
            <a:extLst>
              <a:ext uri="{FF2B5EF4-FFF2-40B4-BE49-F238E27FC236}">
                <a16:creationId xmlns:a16="http://schemas.microsoft.com/office/drawing/2014/main" id="{19C32807-A148-7B55-A7B8-E16350399ACC}"/>
              </a:ext>
            </a:extLst>
          </p:cNvPr>
          <p:cNvSpPr txBox="1"/>
          <p:nvPr/>
        </p:nvSpPr>
        <p:spPr>
          <a:xfrm>
            <a:off x="1956626" y="6192376"/>
            <a:ext cx="957696" cy="219291"/>
          </a:xfrm>
          <a:prstGeom prst="rect">
            <a:avLst/>
          </a:prstGeom>
          <a:noFill/>
        </p:spPr>
        <p:txBody>
          <a:bodyPr wrap="square" rtlCol="0">
            <a:spAutoFit/>
          </a:bodyPr>
          <a:lstStyle/>
          <a:p>
            <a:r>
              <a:rPr lang="da-DK" sz="825" b="1" dirty="0">
                <a:solidFill>
                  <a:schemeClr val="bg1">
                    <a:lumMod val="50000"/>
                  </a:schemeClr>
                </a:solidFill>
                <a:latin typeface="Verdana" panose="020B0604030504040204" pitchFamily="34" charset="0"/>
                <a:ea typeface="Verdana" panose="020B0604030504040204" pitchFamily="34" charset="0"/>
              </a:rPr>
              <a:t>1</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7" name="Tekstfelt 46">
            <a:extLst>
              <a:ext uri="{FF2B5EF4-FFF2-40B4-BE49-F238E27FC236}">
                <a16:creationId xmlns:a16="http://schemas.microsoft.com/office/drawing/2014/main" id="{D2D6771C-08B3-1432-777D-079736BEBD10}"/>
              </a:ext>
            </a:extLst>
          </p:cNvPr>
          <p:cNvSpPr txBox="1"/>
          <p:nvPr/>
        </p:nvSpPr>
        <p:spPr>
          <a:xfrm>
            <a:off x="3688777" y="6166863"/>
            <a:ext cx="95769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Ca. </a:t>
            </a:r>
            <a:r>
              <a:rPr lang="da-DK" sz="825" b="1" dirty="0">
                <a:solidFill>
                  <a:schemeClr val="bg1">
                    <a:lumMod val="50000"/>
                  </a:schemeClr>
                </a:solidFill>
                <a:latin typeface="Verdana" panose="020B0604030504040204" pitchFamily="34" charset="0"/>
                <a:ea typeface="Verdana" panose="020B0604030504040204" pitchFamily="34" charset="0"/>
              </a:rPr>
              <a:t>4</a:t>
            </a:r>
            <a:r>
              <a:rPr lang="da-DK" sz="825" b="1" dirty="0" smtClean="0">
                <a:solidFill>
                  <a:schemeClr val="bg1">
                    <a:lumMod val="50000"/>
                  </a:schemeClr>
                </a:solidFill>
                <a:latin typeface="Verdana" panose="020B0604030504040204" pitchFamily="34" charset="0"/>
                <a:ea typeface="Verdana" panose="020B0604030504040204" pitchFamily="34" charset="0"/>
              </a:rPr>
              <a:t>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8" name="Tekstfelt 47">
            <a:extLst>
              <a:ext uri="{FF2B5EF4-FFF2-40B4-BE49-F238E27FC236}">
                <a16:creationId xmlns:a16="http://schemas.microsoft.com/office/drawing/2014/main" id="{0BE11CB0-F06C-F6B2-AFF0-B18B715EAFB8}"/>
              </a:ext>
            </a:extLst>
          </p:cNvPr>
          <p:cNvSpPr txBox="1"/>
          <p:nvPr/>
        </p:nvSpPr>
        <p:spPr>
          <a:xfrm>
            <a:off x="5420280" y="6146208"/>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8-10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49" name="Tekstfelt 48">
            <a:extLst>
              <a:ext uri="{FF2B5EF4-FFF2-40B4-BE49-F238E27FC236}">
                <a16:creationId xmlns:a16="http://schemas.microsoft.com/office/drawing/2014/main" id="{A71425F3-6B3B-7EEC-775F-6899FBC078C4}"/>
              </a:ext>
            </a:extLst>
          </p:cNvPr>
          <p:cNvSpPr txBox="1"/>
          <p:nvPr/>
        </p:nvSpPr>
        <p:spPr>
          <a:xfrm>
            <a:off x="893769" y="6187846"/>
            <a:ext cx="1118627" cy="219291"/>
          </a:xfrm>
          <a:prstGeom prst="rect">
            <a:avLst/>
          </a:prstGeom>
          <a:noFill/>
        </p:spPr>
        <p:txBody>
          <a:bodyPr wrap="square" rtlCol="0">
            <a:spAutoFit/>
          </a:bodyPr>
          <a:lstStyle/>
          <a:p>
            <a:r>
              <a:rPr lang="da-DK" sz="825" b="1" dirty="0" smtClean="0">
                <a:solidFill>
                  <a:schemeClr val="bg1">
                    <a:lumMod val="50000"/>
                  </a:schemeClr>
                </a:solidFill>
                <a:latin typeface="Verdana" panose="020B0604030504040204" pitchFamily="34" charset="0"/>
                <a:ea typeface="Verdana" panose="020B0604030504040204" pitchFamily="34" charset="0"/>
              </a:rPr>
              <a:t>VPL START</a:t>
            </a:r>
            <a:endParaRPr lang="da-DK" sz="1200" b="1" dirty="0">
              <a:solidFill>
                <a:schemeClr val="bg1">
                  <a:lumMod val="50000"/>
                </a:schemeClr>
              </a:solidFill>
              <a:latin typeface="Verdana" panose="020B0604030504040204" pitchFamily="34" charset="0"/>
              <a:ea typeface="Verdana" panose="020B0604030504040204" pitchFamily="34" charset="0"/>
            </a:endParaRPr>
          </a:p>
        </p:txBody>
      </p:sp>
      <p:sp>
        <p:nvSpPr>
          <p:cNvPr id="50" name="Tekstfelt 49">
            <a:extLst>
              <a:ext uri="{FF2B5EF4-FFF2-40B4-BE49-F238E27FC236}">
                <a16:creationId xmlns:a16="http://schemas.microsoft.com/office/drawing/2014/main" id="{4F9E8F78-311C-2B2A-246C-8F0AAB176959}"/>
              </a:ext>
            </a:extLst>
          </p:cNvPr>
          <p:cNvSpPr txBox="1"/>
          <p:nvPr/>
        </p:nvSpPr>
        <p:spPr>
          <a:xfrm>
            <a:off x="7502079" y="6156232"/>
            <a:ext cx="1209306" cy="219291"/>
          </a:xfrm>
          <a:prstGeom prst="rect">
            <a:avLst/>
          </a:prstGeom>
          <a:noFill/>
        </p:spPr>
        <p:txBody>
          <a:bodyPr wrap="square" rtlCol="0">
            <a:spAutoFit/>
          </a:bodyPr>
          <a:lstStyle/>
          <a:p>
            <a:pPr algn="ctr"/>
            <a:r>
              <a:rPr lang="da-DK" sz="825" b="1" dirty="0" smtClean="0">
                <a:solidFill>
                  <a:schemeClr val="bg1">
                    <a:lumMod val="50000"/>
                  </a:schemeClr>
                </a:solidFill>
                <a:latin typeface="Verdana" panose="020B0604030504040204" pitchFamily="34" charset="0"/>
                <a:ea typeface="Verdana" panose="020B0604030504040204" pitchFamily="34" charset="0"/>
              </a:rPr>
              <a:t>14-16 </a:t>
            </a:r>
            <a:r>
              <a:rPr lang="da-DK" sz="825" b="1" dirty="0">
                <a:solidFill>
                  <a:schemeClr val="bg1">
                    <a:lumMod val="50000"/>
                  </a:schemeClr>
                </a:solidFill>
                <a:latin typeface="Verdana" panose="020B0604030504040204" pitchFamily="34" charset="0"/>
                <a:ea typeface="Verdana" panose="020B0604030504040204" pitchFamily="34" charset="0"/>
              </a:rPr>
              <a:t>år</a:t>
            </a:r>
          </a:p>
        </p:txBody>
      </p:sp>
      <p:sp>
        <p:nvSpPr>
          <p:cNvPr id="51" name="Pil: vinkel 27">
            <a:extLst>
              <a:ext uri="{FF2B5EF4-FFF2-40B4-BE49-F238E27FC236}">
                <a16:creationId xmlns:a16="http://schemas.microsoft.com/office/drawing/2014/main" id="{C88FBBB5-3D00-48DB-05B2-068E52B97C8E}"/>
              </a:ext>
            </a:extLst>
          </p:cNvPr>
          <p:cNvSpPr/>
          <p:nvPr/>
        </p:nvSpPr>
        <p:spPr>
          <a:xfrm>
            <a:off x="1680298" y="6239101"/>
            <a:ext cx="332098" cy="88150"/>
          </a:xfrm>
          <a:prstGeom prst="chevron">
            <a:avLst/>
          </a:prstGeom>
          <a:solidFill>
            <a:schemeClr val="accent2"/>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2" name="Pil: vinkel 28">
            <a:extLst>
              <a:ext uri="{FF2B5EF4-FFF2-40B4-BE49-F238E27FC236}">
                <a16:creationId xmlns:a16="http://schemas.microsoft.com/office/drawing/2014/main" id="{BD5364A8-36BA-E2F9-77CB-A107C4CBF82B}"/>
              </a:ext>
            </a:extLst>
          </p:cNvPr>
          <p:cNvSpPr/>
          <p:nvPr/>
        </p:nvSpPr>
        <p:spPr>
          <a:xfrm>
            <a:off x="2395461" y="6239102"/>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3" name="Pil: vinkel 29">
            <a:extLst>
              <a:ext uri="{FF2B5EF4-FFF2-40B4-BE49-F238E27FC236}">
                <a16:creationId xmlns:a16="http://schemas.microsoft.com/office/drawing/2014/main" id="{C6EAE9AB-39AD-4D47-9C5B-FB421BF09A42}"/>
              </a:ext>
            </a:extLst>
          </p:cNvPr>
          <p:cNvSpPr/>
          <p:nvPr/>
        </p:nvSpPr>
        <p:spPr>
          <a:xfrm>
            <a:off x="4460372" y="623910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4" name="Pil: vinkel 30">
            <a:extLst>
              <a:ext uri="{FF2B5EF4-FFF2-40B4-BE49-F238E27FC236}">
                <a16:creationId xmlns:a16="http://schemas.microsoft.com/office/drawing/2014/main" id="{9D541816-4D83-762D-C48C-2B1732D1527F}"/>
              </a:ext>
            </a:extLst>
          </p:cNvPr>
          <p:cNvSpPr/>
          <p:nvPr/>
        </p:nvSpPr>
        <p:spPr>
          <a:xfrm>
            <a:off x="6307809" y="6210624"/>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5" name="Pil: højre 21">
            <a:extLst>
              <a:ext uri="{FF2B5EF4-FFF2-40B4-BE49-F238E27FC236}">
                <a16:creationId xmlns:a16="http://schemas.microsoft.com/office/drawing/2014/main" id="{4B7476FF-9A69-D5E2-D7C5-4C26E695C471}"/>
              </a:ext>
            </a:extLst>
          </p:cNvPr>
          <p:cNvSpPr/>
          <p:nvPr/>
        </p:nvSpPr>
        <p:spPr>
          <a:xfrm rot="16200000">
            <a:off x="8332747" y="6236799"/>
            <a:ext cx="109735" cy="61049"/>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56" name="Pil: vinkel 30">
            <a:extLst>
              <a:ext uri="{FF2B5EF4-FFF2-40B4-BE49-F238E27FC236}">
                <a16:creationId xmlns:a16="http://schemas.microsoft.com/office/drawing/2014/main" id="{9D541816-4D83-762D-C48C-2B1732D1527F}"/>
              </a:ext>
            </a:extLst>
          </p:cNvPr>
          <p:cNvSpPr/>
          <p:nvPr/>
        </p:nvSpPr>
        <p:spPr>
          <a:xfrm>
            <a:off x="8524217" y="6219323"/>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pic>
        <p:nvPicPr>
          <p:cNvPr id="8" name="Billede 7"/>
          <p:cNvPicPr>
            <a:picLocks noChangeAspect="1"/>
          </p:cNvPicPr>
          <p:nvPr/>
        </p:nvPicPr>
        <p:blipFill>
          <a:blip r:embed="rId13"/>
          <a:stretch>
            <a:fillRect/>
          </a:stretch>
        </p:blipFill>
        <p:spPr>
          <a:xfrm>
            <a:off x="10868695" y="5162369"/>
            <a:ext cx="504911" cy="1027855"/>
          </a:xfrm>
          <a:prstGeom prst="rect">
            <a:avLst/>
          </a:prstGeom>
        </p:spPr>
      </p:pic>
      <p:pic>
        <p:nvPicPr>
          <p:cNvPr id="9" name="Billede 8"/>
          <p:cNvPicPr>
            <a:picLocks noChangeAspect="1"/>
          </p:cNvPicPr>
          <p:nvPr/>
        </p:nvPicPr>
        <p:blipFill>
          <a:blip r:embed="rId14"/>
          <a:stretch>
            <a:fillRect/>
          </a:stretch>
        </p:blipFill>
        <p:spPr>
          <a:xfrm>
            <a:off x="10141832" y="5170357"/>
            <a:ext cx="510457" cy="1011880"/>
          </a:xfrm>
          <a:prstGeom prst="rect">
            <a:avLst/>
          </a:prstGeom>
        </p:spPr>
      </p:pic>
      <p:sp>
        <p:nvSpPr>
          <p:cNvPr id="57" name="Pil: vinkel 30">
            <a:extLst>
              <a:ext uri="{FF2B5EF4-FFF2-40B4-BE49-F238E27FC236}">
                <a16:creationId xmlns:a16="http://schemas.microsoft.com/office/drawing/2014/main" id="{9D541816-4D83-762D-C48C-2B1732D1527F}"/>
              </a:ext>
            </a:extLst>
          </p:cNvPr>
          <p:cNvSpPr/>
          <p:nvPr/>
        </p:nvSpPr>
        <p:spPr>
          <a:xfrm>
            <a:off x="8524217" y="6563996"/>
            <a:ext cx="2467059" cy="103246"/>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8" name="Pil: vinkel 28">
            <a:extLst>
              <a:ext uri="{FF2B5EF4-FFF2-40B4-BE49-F238E27FC236}">
                <a16:creationId xmlns:a16="http://schemas.microsoft.com/office/drawing/2014/main" id="{BD5364A8-36BA-E2F9-77CB-A107C4CBF82B}"/>
              </a:ext>
            </a:extLst>
          </p:cNvPr>
          <p:cNvSpPr/>
          <p:nvPr/>
        </p:nvSpPr>
        <p:spPr>
          <a:xfrm>
            <a:off x="2405115" y="6580689"/>
            <a:ext cx="1443328" cy="83089"/>
          </a:xfrm>
          <a:prstGeom prst="chevron">
            <a:avLst/>
          </a:prstGeom>
          <a:solidFill>
            <a:schemeClr val="accent6"/>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59" name="Pil: vinkel 29">
            <a:extLst>
              <a:ext uri="{FF2B5EF4-FFF2-40B4-BE49-F238E27FC236}">
                <a16:creationId xmlns:a16="http://schemas.microsoft.com/office/drawing/2014/main" id="{C6EAE9AB-39AD-4D47-9C5B-FB421BF09A42}"/>
              </a:ext>
            </a:extLst>
          </p:cNvPr>
          <p:cNvSpPr/>
          <p:nvPr/>
        </p:nvSpPr>
        <p:spPr>
          <a:xfrm>
            <a:off x="4460372" y="6599071"/>
            <a:ext cx="1277886" cy="96149"/>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
        <p:nvSpPr>
          <p:cNvPr id="60" name="Pil: vinkel 30">
            <a:extLst>
              <a:ext uri="{FF2B5EF4-FFF2-40B4-BE49-F238E27FC236}">
                <a16:creationId xmlns:a16="http://schemas.microsoft.com/office/drawing/2014/main" id="{9D541816-4D83-762D-C48C-2B1732D1527F}"/>
              </a:ext>
            </a:extLst>
          </p:cNvPr>
          <p:cNvSpPr/>
          <p:nvPr/>
        </p:nvSpPr>
        <p:spPr>
          <a:xfrm>
            <a:off x="6323080" y="6580517"/>
            <a:ext cx="1483729" cy="111567"/>
          </a:xfrm>
          <a:prstGeom prst="chevron">
            <a:avLst/>
          </a:prstGeom>
          <a:solidFill>
            <a:schemeClr val="tx1"/>
          </a:solidFill>
          <a:ln w="12700">
            <a:miter lim="400000"/>
          </a:ln>
        </p:spPr>
        <p:txBody>
          <a:bodyPr lIns="28575" tIns="28575" rIns="28575" bIns="28575" anchor="ctr"/>
          <a:lstStyle/>
          <a:p>
            <a:endParaRPr lang="da-DK" sz="2100">
              <a:solidFill>
                <a:srgbClr val="FFFFFF"/>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0021361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1512982" y="190517"/>
            <a:ext cx="9144000" cy="393691"/>
          </a:xfrm>
        </p:spPr>
        <p:txBody>
          <a:bodyPr/>
          <a:lstStyle/>
          <a:p>
            <a:pPr algn="ctr"/>
            <a:r>
              <a:rPr lang="da-DK" dirty="0" smtClean="0">
                <a:latin typeface="Arial" panose="020B0604020202020204" pitchFamily="34" charset="0"/>
                <a:cs typeface="Arial" panose="020B0604020202020204" pitchFamily="34" charset="0"/>
              </a:rPr>
              <a:t>Uddannelses progression for befalingsmanden</a:t>
            </a:r>
            <a:endParaRPr lang="da-DK" dirty="0">
              <a:latin typeface="Arial" panose="020B0604020202020204" pitchFamily="34" charset="0"/>
              <a:cs typeface="Arial" panose="020B0604020202020204" pitchFamily="34" charset="0"/>
            </a:endParaRPr>
          </a:p>
        </p:txBody>
      </p:sp>
      <p:sp>
        <p:nvSpPr>
          <p:cNvPr id="13" name="Pladsholder til diasnummer 12"/>
          <p:cNvSpPr>
            <a:spLocks noGrp="1"/>
          </p:cNvSpPr>
          <p:nvPr>
            <p:ph type="sldNum" sz="quarter" idx="4294967295"/>
          </p:nvPr>
        </p:nvSpPr>
        <p:spPr/>
        <p:txBody>
          <a:bodyPr/>
          <a:lstStyle/>
          <a:p>
            <a:endParaRPr lang="da-DK" dirty="0"/>
          </a:p>
        </p:txBody>
      </p:sp>
      <p:graphicFrame>
        <p:nvGraphicFramePr>
          <p:cNvPr id="4" name="Diagram 3"/>
          <p:cNvGraphicFramePr/>
          <p:nvPr>
            <p:extLst>
              <p:ext uri="{D42A27DB-BD31-4B8C-83A1-F6EECF244321}">
                <p14:modId xmlns:p14="http://schemas.microsoft.com/office/powerpoint/2010/main" val="3705997643"/>
              </p:ext>
            </p:extLst>
          </p:nvPr>
        </p:nvGraphicFramePr>
        <p:xfrm>
          <a:off x="2725463" y="543926"/>
          <a:ext cx="6761480" cy="6058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Venstre klammeparentes 4"/>
          <p:cNvSpPr/>
          <p:nvPr/>
        </p:nvSpPr>
        <p:spPr>
          <a:xfrm>
            <a:off x="2349622" y="1973855"/>
            <a:ext cx="294640" cy="1857916"/>
          </a:xfrm>
          <a:prstGeom prst="leftBrace">
            <a:avLst>
              <a:gd name="adj1" fmla="val 17568"/>
              <a:gd name="adj2"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9" name="Venstre klammeparentes 28"/>
          <p:cNvSpPr/>
          <p:nvPr/>
        </p:nvSpPr>
        <p:spPr>
          <a:xfrm>
            <a:off x="2332449" y="761307"/>
            <a:ext cx="322724" cy="1142999"/>
          </a:xfrm>
          <a:prstGeom prst="lef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nvGrpSpPr>
          <p:cNvPr id="30" name="Gruppe 29"/>
          <p:cNvGrpSpPr/>
          <p:nvPr/>
        </p:nvGrpSpPr>
        <p:grpSpPr>
          <a:xfrm>
            <a:off x="1002152" y="2613889"/>
            <a:ext cx="1143000" cy="577849"/>
            <a:chOff x="2327578" y="350379"/>
            <a:chExt cx="2296157" cy="577849"/>
          </a:xfrm>
        </p:grpSpPr>
        <p:sp>
          <p:nvSpPr>
            <p:cNvPr id="31" name="Afrundet rektangel 30"/>
            <p:cNvSpPr/>
            <p:nvPr/>
          </p:nvSpPr>
          <p:spPr>
            <a:xfrm>
              <a:off x="2327578" y="350379"/>
              <a:ext cx="2296157" cy="57784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32" name="Afrundet rektangel 4"/>
            <p:cNvSpPr/>
            <p:nvPr/>
          </p:nvSpPr>
          <p:spPr>
            <a:xfrm>
              <a:off x="2478560" y="376915"/>
              <a:ext cx="2076459" cy="5214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da-DK" sz="1100" dirty="0"/>
                <a:t>Tactical level</a:t>
              </a:r>
            </a:p>
          </p:txBody>
        </p:sp>
      </p:grpSp>
      <p:grpSp>
        <p:nvGrpSpPr>
          <p:cNvPr id="37" name="Gruppe 36"/>
          <p:cNvGrpSpPr/>
          <p:nvPr/>
        </p:nvGrpSpPr>
        <p:grpSpPr>
          <a:xfrm>
            <a:off x="975555" y="1055941"/>
            <a:ext cx="1143000" cy="577849"/>
            <a:chOff x="3663222" y="406795"/>
            <a:chExt cx="2296157" cy="577849"/>
          </a:xfrm>
        </p:grpSpPr>
        <p:sp>
          <p:nvSpPr>
            <p:cNvPr id="38" name="Afrundet rektangel 37"/>
            <p:cNvSpPr/>
            <p:nvPr/>
          </p:nvSpPr>
          <p:spPr>
            <a:xfrm>
              <a:off x="3663222" y="406795"/>
              <a:ext cx="2296157" cy="57784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39" name="Afrundet rektangel 4"/>
            <p:cNvSpPr/>
            <p:nvPr/>
          </p:nvSpPr>
          <p:spPr>
            <a:xfrm>
              <a:off x="3826502" y="435004"/>
              <a:ext cx="2076459" cy="5214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da-DK" sz="1100" dirty="0"/>
                <a:t>Strategic level</a:t>
              </a:r>
            </a:p>
          </p:txBody>
        </p:sp>
      </p:grpSp>
      <p:sp>
        <p:nvSpPr>
          <p:cNvPr id="42" name="Tekstboks 41"/>
          <p:cNvSpPr txBox="1"/>
          <p:nvPr/>
        </p:nvSpPr>
        <p:spPr>
          <a:xfrm>
            <a:off x="5752719" y="6117037"/>
            <a:ext cx="4851400" cy="153888"/>
          </a:xfrm>
          <a:prstGeom prst="rect">
            <a:avLst/>
          </a:prstGeom>
          <a:noFill/>
        </p:spPr>
        <p:txBody>
          <a:bodyPr wrap="square" lIns="0" tIns="0" rIns="0" bIns="0" rtlCol="0">
            <a:spAutoFit/>
          </a:bodyPr>
          <a:lstStyle/>
          <a:p>
            <a:r>
              <a:rPr lang="da-DK" sz="1000" b="1" dirty="0" smtClean="0">
                <a:latin typeface="Arial" panose="020B0604020202020204" pitchFamily="34" charset="0"/>
                <a:cs typeface="Arial" panose="020B0604020202020204" pitchFamily="34" charset="0"/>
              </a:rPr>
              <a:t>Hold og gruppe</a:t>
            </a:r>
            <a:endParaRPr lang="da-DK" sz="1000" dirty="0">
              <a:latin typeface="Arial" panose="020B0604020202020204" pitchFamily="34" charset="0"/>
              <a:cs typeface="Arial" panose="020B0604020202020204" pitchFamily="34" charset="0"/>
            </a:endParaRPr>
          </a:p>
        </p:txBody>
      </p:sp>
      <p:sp>
        <p:nvSpPr>
          <p:cNvPr id="43" name="Tekstboks 42"/>
          <p:cNvSpPr txBox="1"/>
          <p:nvPr/>
        </p:nvSpPr>
        <p:spPr>
          <a:xfrm>
            <a:off x="5653211" y="4942434"/>
            <a:ext cx="4836160" cy="153888"/>
          </a:xfrm>
          <a:prstGeom prst="rect">
            <a:avLst/>
          </a:prstGeom>
          <a:noFill/>
        </p:spPr>
        <p:txBody>
          <a:bodyPr wrap="square" lIns="0" tIns="0" rIns="0" bIns="0" rtlCol="0">
            <a:spAutoFit/>
          </a:bodyPr>
          <a:lstStyle/>
          <a:p>
            <a:r>
              <a:rPr lang="da-DK" sz="1000" b="1" dirty="0" smtClean="0">
                <a:latin typeface="Arial" panose="020B0604020202020204" pitchFamily="34" charset="0"/>
                <a:cs typeface="Arial" panose="020B0604020202020204" pitchFamily="34" charset="0"/>
              </a:rPr>
              <a:t>Deling og kompagni</a:t>
            </a:r>
            <a:endParaRPr lang="da-DK" sz="1000" dirty="0">
              <a:latin typeface="Arial" panose="020B0604020202020204" pitchFamily="34" charset="0"/>
              <a:cs typeface="Arial" panose="020B0604020202020204" pitchFamily="34" charset="0"/>
            </a:endParaRPr>
          </a:p>
        </p:txBody>
      </p:sp>
      <p:sp>
        <p:nvSpPr>
          <p:cNvPr id="44" name="Tekstboks 43"/>
          <p:cNvSpPr txBox="1"/>
          <p:nvPr/>
        </p:nvSpPr>
        <p:spPr>
          <a:xfrm>
            <a:off x="5653253" y="3730573"/>
            <a:ext cx="4790440" cy="153888"/>
          </a:xfrm>
          <a:prstGeom prst="rect">
            <a:avLst/>
          </a:prstGeom>
          <a:noFill/>
        </p:spPr>
        <p:txBody>
          <a:bodyPr wrap="square" lIns="0" tIns="0" rIns="0" bIns="0" rtlCol="0">
            <a:spAutoFit/>
          </a:bodyPr>
          <a:lstStyle/>
          <a:p>
            <a:r>
              <a:rPr lang="da-DK" sz="1000" b="1" dirty="0" smtClean="0">
                <a:latin typeface="Arial" panose="020B0604020202020204" pitchFamily="34" charset="0"/>
                <a:cs typeface="Arial" panose="020B0604020202020204" pitchFamily="34" charset="0"/>
              </a:rPr>
              <a:t>Kompagni og bataljon</a:t>
            </a:r>
            <a:endParaRPr lang="da-DK" sz="1000" dirty="0">
              <a:latin typeface="Arial" panose="020B0604020202020204" pitchFamily="34" charset="0"/>
              <a:cs typeface="Arial" panose="020B0604020202020204" pitchFamily="34" charset="0"/>
            </a:endParaRPr>
          </a:p>
        </p:txBody>
      </p:sp>
      <p:sp>
        <p:nvSpPr>
          <p:cNvPr id="45" name="Tekstboks 44"/>
          <p:cNvSpPr txBox="1"/>
          <p:nvPr/>
        </p:nvSpPr>
        <p:spPr>
          <a:xfrm>
            <a:off x="5653211" y="2512690"/>
            <a:ext cx="4851400" cy="153888"/>
          </a:xfrm>
          <a:prstGeom prst="rect">
            <a:avLst/>
          </a:prstGeom>
          <a:noFill/>
        </p:spPr>
        <p:txBody>
          <a:bodyPr wrap="square" lIns="0" tIns="0" rIns="0" bIns="0" rtlCol="0">
            <a:spAutoFit/>
          </a:bodyPr>
          <a:lstStyle/>
          <a:p>
            <a:r>
              <a:rPr lang="da-DK" sz="1000" b="1" dirty="0" smtClean="0">
                <a:latin typeface="Arial" panose="020B0604020202020204" pitchFamily="34" charset="0"/>
                <a:cs typeface="Arial" panose="020B0604020202020204" pitchFamily="34" charset="0"/>
              </a:rPr>
              <a:t>Bataljon og brigade </a:t>
            </a:r>
            <a:endParaRPr lang="da-DK" sz="1000" dirty="0">
              <a:latin typeface="Arial" panose="020B0604020202020204" pitchFamily="34" charset="0"/>
              <a:cs typeface="Arial" panose="020B0604020202020204" pitchFamily="34" charset="0"/>
            </a:endParaRPr>
          </a:p>
        </p:txBody>
      </p:sp>
      <p:grpSp>
        <p:nvGrpSpPr>
          <p:cNvPr id="27" name="Gruppe 26"/>
          <p:cNvGrpSpPr/>
          <p:nvPr/>
        </p:nvGrpSpPr>
        <p:grpSpPr>
          <a:xfrm>
            <a:off x="964803" y="4901251"/>
            <a:ext cx="1143000" cy="577849"/>
            <a:chOff x="3663222" y="406795"/>
            <a:chExt cx="2296157" cy="577849"/>
          </a:xfrm>
        </p:grpSpPr>
        <p:sp>
          <p:nvSpPr>
            <p:cNvPr id="33" name="Afrundet rektangel 32"/>
            <p:cNvSpPr/>
            <p:nvPr/>
          </p:nvSpPr>
          <p:spPr>
            <a:xfrm>
              <a:off x="3663222" y="406795"/>
              <a:ext cx="2296157" cy="57784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40" name="Afrundet rektangel 4"/>
            <p:cNvSpPr/>
            <p:nvPr/>
          </p:nvSpPr>
          <p:spPr>
            <a:xfrm>
              <a:off x="3826502" y="435004"/>
              <a:ext cx="2076459" cy="5214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da-DK" sz="1100" dirty="0"/>
                <a:t>Sub-</a:t>
              </a:r>
              <a:r>
                <a:rPr lang="da-DK" sz="1100" dirty="0" err="1"/>
                <a:t>tactical</a:t>
              </a:r>
              <a:r>
                <a:rPr lang="da-DK" sz="1100" dirty="0"/>
                <a:t> level</a:t>
              </a:r>
            </a:p>
          </p:txBody>
        </p:sp>
      </p:grpSp>
      <p:sp>
        <p:nvSpPr>
          <p:cNvPr id="10" name="Afrundet rektangel 9"/>
          <p:cNvSpPr/>
          <p:nvPr/>
        </p:nvSpPr>
        <p:spPr>
          <a:xfrm>
            <a:off x="1589" y="1"/>
            <a:ext cx="1802921" cy="333575"/>
          </a:xfrm>
          <a:prstGeom prst="round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25000"/>
              </a:lnSpc>
            </a:pPr>
            <a:endParaRPr lang="en-US" sz="1200" dirty="0" err="1"/>
          </a:p>
        </p:txBody>
      </p:sp>
      <p:sp>
        <p:nvSpPr>
          <p:cNvPr id="56" name="Venstre klammeparentes 55"/>
          <p:cNvSpPr/>
          <p:nvPr/>
        </p:nvSpPr>
        <p:spPr>
          <a:xfrm>
            <a:off x="2332053" y="3901322"/>
            <a:ext cx="323120" cy="2624455"/>
          </a:xfrm>
          <a:prstGeom prst="leftBrace">
            <a:avLst>
              <a:gd name="adj1" fmla="val 13189"/>
              <a:gd name="adj2"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63" name="Pladsholder til tekst 8"/>
          <p:cNvSpPr>
            <a:spLocks noGrp="1"/>
          </p:cNvSpPr>
          <p:nvPr>
            <p:ph type="body" sz="quarter" idx="4294967295"/>
          </p:nvPr>
        </p:nvSpPr>
        <p:spPr>
          <a:xfrm>
            <a:off x="4644249" y="6657524"/>
            <a:ext cx="3844800" cy="213360"/>
          </a:xfrm>
          <a:prstGeom prst="rect">
            <a:avLst/>
          </a:prstGeom>
        </p:spPr>
        <p:txBody>
          <a:bodyPr/>
          <a:lstStyle/>
          <a:p>
            <a:pPr marL="0" indent="0" algn="ctr">
              <a:buNone/>
            </a:pPr>
            <a:r>
              <a:rPr lang="da-DK" sz="1000" dirty="0">
                <a:latin typeface="+mj-lt"/>
                <a:cs typeface="Arial" panose="020B0604020202020204" pitchFamily="34" charset="0"/>
              </a:rPr>
              <a:t>NATO UNCLASSIFIED</a:t>
            </a:r>
          </a:p>
          <a:p>
            <a:endParaRPr lang="da-DK" dirty="0"/>
          </a:p>
        </p:txBody>
      </p:sp>
      <p:sp>
        <p:nvSpPr>
          <p:cNvPr id="64" name="Afrundet rektangel 63"/>
          <p:cNvSpPr/>
          <p:nvPr/>
        </p:nvSpPr>
        <p:spPr>
          <a:xfrm>
            <a:off x="2572068" y="3191738"/>
            <a:ext cx="7809605" cy="357845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en-US" sz="1200" dirty="0" err="1"/>
          </a:p>
        </p:txBody>
      </p:sp>
      <p:pic>
        <p:nvPicPr>
          <p:cNvPr id="35" name="Picture 5" descr="T:\FOTO\Fotoarkiv - GSE06\Gradstegn MTS\TIF\008_chefsergent_i.t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439308" y="2376588"/>
            <a:ext cx="324156" cy="61232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T:\FOTO\Fotoarkiv - GSE06\Gradstegn MTS\TIF\009_seniorsergent_i.t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2209" y="3541345"/>
            <a:ext cx="324156" cy="61232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descr="T:\FOTO\Fotoarkiv - GSE06\Gradstegn MTS\TIF\010_oversergent_i.t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1950" y="4776260"/>
            <a:ext cx="338873" cy="64012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T:\FOTO\Fotoarkiv - GSE06\Gradstegn MTS\PNG\011_sergent_i.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flipH="1">
            <a:off x="806131" y="5756574"/>
            <a:ext cx="332711" cy="62839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T:\FOTO\Fotoarkiv - GSE06\Gradstegn MTS\TIF\012_ny_udnævnt_sergent_12_mdr_i.t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1950" y="5762276"/>
            <a:ext cx="332664" cy="628396"/>
          </a:xfrm>
          <a:prstGeom prst="rect">
            <a:avLst/>
          </a:prstGeom>
          <a:noFill/>
          <a:extLst>
            <a:ext uri="{909E8E84-426E-40DD-AFC4-6F175D3DCCD1}">
              <a14:hiddenFill xmlns:a14="http://schemas.microsoft.com/office/drawing/2010/main">
                <a:solidFill>
                  <a:srgbClr val="FFFFFF"/>
                </a:solidFill>
              </a14:hiddenFill>
            </a:ext>
          </a:extLst>
        </p:spPr>
      </p:pic>
      <p:pic>
        <p:nvPicPr>
          <p:cNvPr id="48" name="Billede 47"/>
          <p:cNvPicPr>
            <a:picLocks noChangeAspect="1"/>
          </p:cNvPicPr>
          <p:nvPr/>
        </p:nvPicPr>
        <p:blipFill>
          <a:blip r:embed="rId13"/>
          <a:stretch>
            <a:fillRect/>
          </a:stretch>
        </p:blipFill>
        <p:spPr>
          <a:xfrm>
            <a:off x="431950" y="727267"/>
            <a:ext cx="343966" cy="700218"/>
          </a:xfrm>
          <a:prstGeom prst="rect">
            <a:avLst/>
          </a:prstGeom>
        </p:spPr>
      </p:pic>
      <p:pic>
        <p:nvPicPr>
          <p:cNvPr id="49" name="Billede 48"/>
          <p:cNvPicPr>
            <a:picLocks noChangeAspect="1"/>
          </p:cNvPicPr>
          <p:nvPr/>
        </p:nvPicPr>
        <p:blipFill>
          <a:blip r:embed="rId14"/>
          <a:stretch>
            <a:fillRect/>
          </a:stretch>
        </p:blipFill>
        <p:spPr>
          <a:xfrm>
            <a:off x="433274" y="1563265"/>
            <a:ext cx="322832" cy="639952"/>
          </a:xfrm>
          <a:prstGeom prst="rect">
            <a:avLst/>
          </a:prstGeom>
        </p:spPr>
      </p:pic>
      <p:pic>
        <p:nvPicPr>
          <p:cNvPr id="2" name="Billede 1"/>
          <p:cNvPicPr>
            <a:picLocks noChangeAspect="1"/>
          </p:cNvPicPr>
          <p:nvPr/>
        </p:nvPicPr>
        <p:blipFill>
          <a:blip r:embed="rId15"/>
          <a:stretch>
            <a:fillRect/>
          </a:stretch>
        </p:blipFill>
        <p:spPr>
          <a:xfrm>
            <a:off x="9475781" y="3791532"/>
            <a:ext cx="1769512" cy="2275856"/>
          </a:xfrm>
          <a:prstGeom prst="rect">
            <a:avLst/>
          </a:prstGeom>
        </p:spPr>
      </p:pic>
      <p:sp>
        <p:nvSpPr>
          <p:cNvPr id="3" name="Afrundet rektangel 2"/>
          <p:cNvSpPr/>
          <p:nvPr/>
        </p:nvSpPr>
        <p:spPr>
          <a:xfrm>
            <a:off x="7263956" y="2716227"/>
            <a:ext cx="2304188" cy="871048"/>
          </a:xfrm>
          <a:prstGeom prst="roundRect">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000" dirty="0" smtClean="0">
                <a:solidFill>
                  <a:schemeClr val="tx1"/>
                </a:solidFill>
                <a:latin typeface="Arial" panose="020B0604020202020204" pitchFamily="34" charset="0"/>
                <a:cs typeface="Arial" panose="020B0604020202020204" pitchFamily="34" charset="0"/>
              </a:rPr>
              <a:t>Diplomuddannelse</a:t>
            </a:r>
          </a:p>
          <a:p>
            <a:pPr algn="ctr">
              <a:lnSpc>
                <a:spcPct val="125000"/>
              </a:lnSpc>
            </a:pPr>
            <a:r>
              <a:rPr lang="da-DK" sz="1000" noProof="0" dirty="0" smtClean="0">
                <a:solidFill>
                  <a:schemeClr val="tx1"/>
                </a:solidFill>
                <a:latin typeface="Arial" panose="020B0604020202020204" pitchFamily="34" charset="0"/>
                <a:cs typeface="Arial" panose="020B0604020202020204" pitchFamily="34" charset="0"/>
              </a:rPr>
              <a:t>(niveau 6)</a:t>
            </a:r>
            <a:endParaRPr lang="da-DK" sz="1000" noProof="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9679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Pladsholder til tekst 122"/>
          <p:cNvSpPr>
            <a:spLocks noGrp="1"/>
          </p:cNvSpPr>
          <p:nvPr>
            <p:ph type="body" sz="quarter" idx="16"/>
          </p:nvPr>
        </p:nvSpPr>
        <p:spPr/>
        <p:txBody>
          <a:bodyPr/>
          <a:lstStyle/>
          <a:p>
            <a:endParaRPr lang="da-DK"/>
          </a:p>
        </p:txBody>
      </p:sp>
      <p:sp>
        <p:nvSpPr>
          <p:cNvPr id="124" name="Pladsholder til tekst 123"/>
          <p:cNvSpPr>
            <a:spLocks noGrp="1"/>
          </p:cNvSpPr>
          <p:nvPr>
            <p:ph type="body" sz="quarter" idx="17"/>
          </p:nvPr>
        </p:nvSpPr>
        <p:spPr/>
        <p:txBody>
          <a:bodyPr/>
          <a:lstStyle/>
          <a:p>
            <a:endParaRPr lang="da-DK"/>
          </a:p>
        </p:txBody>
      </p:sp>
      <p:sp>
        <p:nvSpPr>
          <p:cNvPr id="125" name="Pladsholder til tekst 124"/>
          <p:cNvSpPr>
            <a:spLocks noGrp="1"/>
          </p:cNvSpPr>
          <p:nvPr>
            <p:ph type="body" sz="quarter" idx="19"/>
          </p:nvPr>
        </p:nvSpPr>
        <p:spPr/>
        <p:txBody>
          <a:bodyPr/>
          <a:lstStyle/>
          <a:p>
            <a:endParaRPr lang="da-DK"/>
          </a:p>
        </p:txBody>
      </p:sp>
      <p:sp>
        <p:nvSpPr>
          <p:cNvPr id="126" name="Pladsholder til tekst 125"/>
          <p:cNvSpPr>
            <a:spLocks noGrp="1"/>
          </p:cNvSpPr>
          <p:nvPr>
            <p:ph type="body" sz="quarter" idx="20"/>
          </p:nvPr>
        </p:nvSpPr>
        <p:spPr/>
        <p:txBody>
          <a:bodyPr/>
          <a:lstStyle/>
          <a:p>
            <a:endParaRPr lang="da-DK"/>
          </a:p>
        </p:txBody>
      </p:sp>
      <p:sp>
        <p:nvSpPr>
          <p:cNvPr id="6" name="Pladsholder til dato 5"/>
          <p:cNvSpPr>
            <a:spLocks noGrp="1"/>
          </p:cNvSpPr>
          <p:nvPr>
            <p:ph type="dt" sz="half" idx="10"/>
          </p:nvPr>
        </p:nvSpPr>
        <p:spPr/>
        <p:txBody>
          <a:bodyPr/>
          <a:lstStyle/>
          <a:p>
            <a:pPr defTabSz="914126"/>
            <a:fld id="{9EACCC4A-893E-4B6A-A217-166559D2F8BC}" type="datetime2">
              <a:rPr lang="da-DK">
                <a:latin typeface="Verdana"/>
              </a:rPr>
              <a:pPr defTabSz="914126"/>
              <a:t>4. februar 2025</a:t>
            </a:fld>
            <a:endParaRPr lang="da-DK" dirty="0">
              <a:latin typeface="Verdana"/>
            </a:endParaRPr>
          </a:p>
        </p:txBody>
      </p:sp>
      <p:sp>
        <p:nvSpPr>
          <p:cNvPr id="7" name="Pladsholder til sidefod 6"/>
          <p:cNvSpPr>
            <a:spLocks noGrp="1"/>
          </p:cNvSpPr>
          <p:nvPr>
            <p:ph type="ftr" sz="quarter" idx="11"/>
          </p:nvPr>
        </p:nvSpPr>
        <p:spPr/>
        <p:txBody>
          <a:bodyPr/>
          <a:lstStyle/>
          <a:p>
            <a:pPr defTabSz="914126"/>
            <a:endParaRPr lang="da-DK" dirty="0">
              <a:latin typeface="Verdana"/>
            </a:endParaRPr>
          </a:p>
        </p:txBody>
      </p:sp>
      <p:sp>
        <p:nvSpPr>
          <p:cNvPr id="8" name="Pladsholder til diasnummer 7"/>
          <p:cNvSpPr>
            <a:spLocks noGrp="1"/>
          </p:cNvSpPr>
          <p:nvPr>
            <p:ph type="sldNum" sz="quarter" idx="12"/>
          </p:nvPr>
        </p:nvSpPr>
        <p:spPr/>
        <p:txBody>
          <a:bodyPr/>
          <a:lstStyle/>
          <a:p>
            <a:pPr defTabSz="914126"/>
            <a:fld id="{24C8C45C-947F-4981-8B3F-4F32E973C901}" type="slidenum">
              <a:rPr lang="da-DK">
                <a:latin typeface="Verdana"/>
              </a:rPr>
              <a:pPr defTabSz="914126"/>
              <a:t>8</a:t>
            </a:fld>
            <a:endParaRPr lang="da-DK" dirty="0">
              <a:latin typeface="Verdana"/>
            </a:endParaRPr>
          </a:p>
        </p:txBody>
      </p:sp>
      <p:sp>
        <p:nvSpPr>
          <p:cNvPr id="2" name="Titel 1"/>
          <p:cNvSpPr>
            <a:spLocks noGrp="1"/>
          </p:cNvSpPr>
          <p:nvPr>
            <p:ph type="ctrTitle"/>
          </p:nvPr>
        </p:nvSpPr>
        <p:spPr>
          <a:xfrm>
            <a:off x="499061" y="2253673"/>
            <a:ext cx="10845135" cy="1933617"/>
          </a:xfrm>
        </p:spPr>
        <p:txBody>
          <a:bodyPr/>
          <a:lstStyle/>
          <a:p>
            <a:pPr algn="ctr"/>
            <a:r>
              <a:rPr lang="da-DK" sz="9600" dirty="0" smtClean="0">
                <a:solidFill>
                  <a:schemeClr val="bg1">
                    <a:lumMod val="85000"/>
                  </a:schemeClr>
                </a:solidFill>
              </a:rPr>
              <a:t>Q &amp; A</a:t>
            </a:r>
            <a:endParaRPr lang="da-DK" sz="9600" dirty="0">
              <a:solidFill>
                <a:schemeClr val="bg1">
                  <a:lumMod val="85000"/>
                </a:schemeClr>
              </a:solidFill>
            </a:endParaRPr>
          </a:p>
        </p:txBody>
      </p:sp>
      <p:sp>
        <p:nvSpPr>
          <p:cNvPr id="3" name="Undertitel 2"/>
          <p:cNvSpPr>
            <a:spLocks noGrp="1"/>
          </p:cNvSpPr>
          <p:nvPr>
            <p:ph type="subTitle" idx="1"/>
          </p:nvPr>
        </p:nvSpPr>
        <p:spPr/>
        <p:txBody>
          <a:bodyPr/>
          <a:lstStyle/>
          <a:p>
            <a:endParaRPr lang="da-DK"/>
          </a:p>
        </p:txBody>
      </p:sp>
      <p:sp>
        <p:nvSpPr>
          <p:cNvPr id="11" name="Titel 12"/>
          <p:cNvSpPr txBox="1">
            <a:spLocks/>
          </p:cNvSpPr>
          <p:nvPr/>
        </p:nvSpPr>
        <p:spPr>
          <a:xfrm>
            <a:off x="2026464" y="6288944"/>
            <a:ext cx="5297971" cy="493900"/>
          </a:xfrm>
          <a:prstGeom prst="rect">
            <a:avLst/>
          </a:prstGeom>
        </p:spPr>
        <p:txBody>
          <a:bodyPr vert="horz" wrap="square" lIns="0" tIns="0" rIns="0" bIns="0" rtlCol="0" anchor="ctr" anchorCtr="0">
            <a:noAutofit/>
          </a:bodyPr>
          <a:lstStyle>
            <a:lvl1pPr algn="l" defTabSz="685594" rtl="0" eaLnBrk="1" latinLnBrk="0" hangingPunct="1">
              <a:lnSpc>
                <a:spcPct val="102000"/>
              </a:lnSpc>
              <a:spcBef>
                <a:spcPct val="0"/>
              </a:spcBef>
              <a:buNone/>
              <a:defRPr sz="3699" b="1" kern="1200">
                <a:solidFill>
                  <a:schemeClr val="tx1"/>
                </a:solidFill>
                <a:latin typeface="+mj-lt"/>
                <a:ea typeface="+mj-ea"/>
                <a:cs typeface="+mj-cs"/>
              </a:defRPr>
            </a:lvl1pPr>
          </a:lstStyle>
          <a:p>
            <a:r>
              <a:rPr lang="da-DK" dirty="0" smtClean="0">
                <a:solidFill>
                  <a:schemeClr val="bg1"/>
                </a:solidFill>
                <a:sym typeface="Wingdings" panose="05000000000000000000" pitchFamily="2" charset="2"/>
              </a:rPr>
              <a:t>Hærchefsergenten </a:t>
            </a:r>
            <a:endParaRPr lang="da-DK" dirty="0">
              <a:solidFill>
                <a:schemeClr val="bg1"/>
              </a:solidFill>
            </a:endParaRPr>
          </a:p>
        </p:txBody>
      </p:sp>
      <p:pic>
        <p:nvPicPr>
          <p:cNvPr id="12" name="img43133" descr="28e61ff5-8ffd-4386-a096-cc7babfe01b3"/>
          <p:cNvPicPr>
            <a:picLocks noChangeAspect="1" noChangeArrowheads="1"/>
          </p:cNvPicPr>
          <p:nvPr/>
        </p:nvPicPr>
        <p:blipFill>
          <a:blip r:embed="rId3" cstate="print"/>
          <a:srcRect/>
          <a:stretch>
            <a:fillRect/>
          </a:stretch>
        </p:blipFill>
        <p:spPr bwMode="auto">
          <a:xfrm>
            <a:off x="193051" y="5749963"/>
            <a:ext cx="1688460" cy="1190625"/>
          </a:xfrm>
          <a:prstGeom prst="rect">
            <a:avLst/>
          </a:prstGeom>
          <a:ln>
            <a:noFill/>
          </a:ln>
          <a:effectLst>
            <a:softEdge rad="112500"/>
          </a:effectLst>
        </p:spPr>
      </p:pic>
    </p:spTree>
    <p:extLst>
      <p:ext uri="{BB962C8B-B14F-4D97-AF65-F5344CB8AC3E}">
        <p14:creationId xmlns:p14="http://schemas.microsoft.com/office/powerpoint/2010/main" val="19828879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ærkommandoen-DK">
  <a:themeElements>
    <a:clrScheme name="FSV">
      <a:dk1>
        <a:sysClr val="windowText" lastClr="000000"/>
      </a:dk1>
      <a:lt1>
        <a:sysClr val="window" lastClr="FFFFFF"/>
      </a:lt1>
      <a:dk2>
        <a:srgbClr val="C8102E"/>
      </a:dk2>
      <a:lt2>
        <a:srgbClr val="3F5C59"/>
      </a:lt2>
      <a:accent1>
        <a:srgbClr val="597E50"/>
      </a:accent1>
      <a:accent2>
        <a:srgbClr val="002855"/>
      </a:accent2>
      <a:accent3>
        <a:srgbClr val="489FD8"/>
      </a:accent3>
      <a:accent4>
        <a:srgbClr val="F5821E"/>
      </a:accent4>
      <a:accent5>
        <a:srgbClr val="8D1B3D"/>
      </a:accent5>
      <a:accent6>
        <a:srgbClr val="000000"/>
      </a:accent6>
      <a:hlink>
        <a:srgbClr val="3F5C59"/>
      </a:hlink>
      <a:folHlink>
        <a:srgbClr val="3F5C59"/>
      </a:folHlink>
    </a:clrScheme>
    <a:fontScheme name="Brugerdefineret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10.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KO">
  <a:themeElements>
    <a:clrScheme name="FSV klare farver">
      <a:dk1>
        <a:srgbClr val="000000"/>
      </a:dk1>
      <a:lt1>
        <a:sysClr val="window" lastClr="FFFFFF"/>
      </a:lt1>
      <a:dk2>
        <a:srgbClr val="8C9D9B"/>
      </a:dk2>
      <a:lt2>
        <a:srgbClr val="ECEFEE"/>
      </a:lt2>
      <a:accent1>
        <a:srgbClr val="C8102E"/>
      </a:accent1>
      <a:accent2>
        <a:srgbClr val="3F5C59"/>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FMN-FKO-HJV-BRS-FMI-FPS-FES-FRS-FAUK 16-9 klare farver.potx" id="{7F20481A-6C27-4565-BA70-D1BBBAAFDFCE}" vid="{C74A5AF4-C443-4296-86FE-3299BBFC30F9}"/>
    </a:ext>
  </a:extLst>
</a:theme>
</file>

<file path=ppt/theme/theme3.xml><?xml version="1.0" encoding="utf-8"?>
<a:theme xmlns:a="http://schemas.openxmlformats.org/drawingml/2006/main" name="5_FMN (PowerPoint)">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s Styrels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Styrelser 16-9 klare farver.potx" id="{430962CC-EBB7-43F8-96FC-4487CDD2057E}" vid="{B041AFA6-E7DC-4643-BC95-BC0FDA5E425F}"/>
    </a:ext>
  </a:extLst>
</a:theme>
</file>

<file path=ppt/theme/theme4.xml><?xml version="1.0" encoding="utf-8"?>
<a:theme xmlns:a="http://schemas.openxmlformats.org/drawingml/2006/main" name="1_FMN (PowerPoint)">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s Styrels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Styrelser 16-9 klare farver.potx" id="{430962CC-EBB7-43F8-96FC-4487CDD2057E}" vid="{B041AFA6-E7DC-4643-BC95-BC0FDA5E425F}"/>
    </a:ext>
  </a:extLst>
</a:theme>
</file>

<file path=ppt/theme/theme5.xml><?xml version="1.0" encoding="utf-8"?>
<a:theme xmlns:a="http://schemas.openxmlformats.org/drawingml/2006/main" name="8_Hærkommandoen-DK">
  <a:themeElements>
    <a:clrScheme name="FSV">
      <a:dk1>
        <a:sysClr val="windowText" lastClr="000000"/>
      </a:dk1>
      <a:lt1>
        <a:sysClr val="window" lastClr="FFFFFF"/>
      </a:lt1>
      <a:dk2>
        <a:srgbClr val="C8102E"/>
      </a:dk2>
      <a:lt2>
        <a:srgbClr val="3F5C59"/>
      </a:lt2>
      <a:accent1>
        <a:srgbClr val="597E50"/>
      </a:accent1>
      <a:accent2>
        <a:srgbClr val="002855"/>
      </a:accent2>
      <a:accent3>
        <a:srgbClr val="489FD8"/>
      </a:accent3>
      <a:accent4>
        <a:srgbClr val="F5821E"/>
      </a:accent4>
      <a:accent5>
        <a:srgbClr val="8D1B3D"/>
      </a:accent5>
      <a:accent6>
        <a:srgbClr val="000000"/>
      </a:accent6>
      <a:hlink>
        <a:srgbClr val="3F5C59"/>
      </a:hlink>
      <a:folHlink>
        <a:srgbClr val="3F5C59"/>
      </a:folHlink>
    </a:clrScheme>
    <a:fontScheme name="Brugerdefineret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6.xml><?xml version="1.0" encoding="utf-8"?>
<a:theme xmlns:a="http://schemas.openxmlformats.org/drawingml/2006/main" name="2_FKO">
  <a:themeElements>
    <a:clrScheme name="FSV klare farver">
      <a:dk1>
        <a:srgbClr val="000000"/>
      </a:dk1>
      <a:lt1>
        <a:sysClr val="window" lastClr="FFFFFF"/>
      </a:lt1>
      <a:dk2>
        <a:srgbClr val="8C9D9B"/>
      </a:dk2>
      <a:lt2>
        <a:srgbClr val="ECEFEE"/>
      </a:lt2>
      <a:accent1>
        <a:srgbClr val="C8102E"/>
      </a:accent1>
      <a:accent2>
        <a:srgbClr val="3F5C59"/>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FMN-FKO-HJV-BRS-FMI-FPS-FES-FRS-FAUK 16-9 klare farver.potx" id="{7F20481A-6C27-4565-BA70-D1BBBAAFDFCE}" vid="{C74A5AF4-C443-4296-86FE-3299BBFC30F9}"/>
    </a:ext>
  </a:extLst>
</a:theme>
</file>

<file path=ppt/theme/theme7.xml><?xml version="1.0" encoding="utf-8"?>
<a:theme xmlns:a="http://schemas.openxmlformats.org/drawingml/2006/main" name="FMN (PowerPoint)">
  <a:themeElements>
    <a:clrScheme name="FMN-FPS-FPS-FES-FRS klare farver">
      <a:dk1>
        <a:sysClr val="windowText" lastClr="000000"/>
      </a:dk1>
      <a:lt1>
        <a:sysClr val="window" lastClr="FFFFFF"/>
      </a:lt1>
      <a:dk2>
        <a:srgbClr val="8C9D9B"/>
      </a:dk2>
      <a:lt2>
        <a:srgbClr val="ECEFEE"/>
      </a:lt2>
      <a:accent1>
        <a:srgbClr val="3F5C59"/>
      </a:accent1>
      <a:accent2>
        <a:srgbClr val="C8102E"/>
      </a:accent2>
      <a:accent3>
        <a:srgbClr val="597E50"/>
      </a:accent3>
      <a:accent4>
        <a:srgbClr val="002855"/>
      </a:accent4>
      <a:accent5>
        <a:srgbClr val="489FD8"/>
      </a:accent5>
      <a:accent6>
        <a:srgbClr val="F5821E"/>
      </a:accent6>
      <a:hlink>
        <a:srgbClr val="3F5C59"/>
      </a:hlink>
      <a:folHlink>
        <a:srgbClr val="3F5C59"/>
      </a:folHlink>
    </a:clrScheme>
    <a:fontScheme name="Forsvarsministeriets Styrels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Styrelser 16-9 klare farver.potx" id="{430962CC-EBB7-43F8-96FC-4487CDD2057E}" vid="{B041AFA6-E7DC-4643-BC95-BC0FDA5E425F}"/>
    </a:ext>
  </a:extLst>
</a:theme>
</file>

<file path=ppt/theme/theme8.xml><?xml version="1.0" encoding="utf-8"?>
<a:theme xmlns:a="http://schemas.openxmlformats.org/drawingml/2006/main" name="10_FKO">
  <a:themeElements>
    <a:clrScheme name="FSV klare farver">
      <a:dk1>
        <a:srgbClr val="000000"/>
      </a:dk1>
      <a:lt1>
        <a:sysClr val="window" lastClr="FFFFFF"/>
      </a:lt1>
      <a:dk2>
        <a:srgbClr val="8C9D9B"/>
      </a:dk2>
      <a:lt2>
        <a:srgbClr val="ECEFEE"/>
      </a:lt2>
      <a:accent1>
        <a:srgbClr val="C8102E"/>
      </a:accent1>
      <a:accent2>
        <a:srgbClr val="3F5C59"/>
      </a:accent2>
      <a:accent3>
        <a:srgbClr val="597E50"/>
      </a:accent3>
      <a:accent4>
        <a:srgbClr val="002855"/>
      </a:accent4>
      <a:accent5>
        <a:srgbClr val="489FD8"/>
      </a:accent5>
      <a:accent6>
        <a:srgbClr val="F5821E"/>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DK FMN-FKO-HJV-BRS-FMI-FPS-FES-FRS-FAUK 16-9 klare farver.potx" id="{7F20481A-6C27-4565-BA70-D1BBBAAFDFCE}" vid="{C74A5AF4-C443-4296-86FE-3299BBFC30F9}"/>
    </a:ext>
  </a:extLst>
</a:theme>
</file>

<file path=ppt/theme/theme9.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titus xmlns="http://schemas.titus.com/TitusProperties/">
  <TitusGUID xmlns="">370a4d09-1fb9-4332-a89c-ed39e8869215</TitusGUID>
  <TitusMetadata xmlns="">eyJucyI6IlxcXFxmb3JzdmFyZXQuZmlpbi5ka1xcTkVUTE9HT05cXFRpdHVzXFxUSVRVU0NvbmZpZ0ZpbGUudGNwZyIsInByb3BzIjpbeyJuIjoiS2xhc3NpZmlrYXRpb24iLCJ2YWxzIjpbeyJ2YWx1ZSI6IklLS0UgS0xBU1NJRklDRVJFVCJ9XX0seyJuIjoiTWFlcmtuaW5nIiwidmFscyI6W119XX0=</TitusMetadata>
</titus>
</file>

<file path=customXml/itemProps1.xml><?xml version="1.0" encoding="utf-8"?>
<ds:datastoreItem xmlns:ds="http://schemas.openxmlformats.org/officeDocument/2006/customXml" ds:itemID="{98B2B0D2-63B0-40FC-A651-D845A1D81042}">
  <ds:schemaRefs>
    <ds:schemaRef ds:uri="http://schemas.titus.com/TitusProperties/"/>
    <ds:schemaRef ds:uri=""/>
  </ds:schemaRefs>
</ds:datastoreItem>
</file>

<file path=docProps/app.xml><?xml version="1.0" encoding="utf-8"?>
<Properties xmlns="http://schemas.openxmlformats.org/officeDocument/2006/extended-properties" xmlns:vt="http://schemas.openxmlformats.org/officeDocument/2006/docPropsVTypes">
  <TotalTime>3671</TotalTime>
  <Words>450</Words>
  <Application>Microsoft Office PowerPoint</Application>
  <PresentationFormat>Widescreen</PresentationFormat>
  <Paragraphs>309</Paragraphs>
  <Slides>8</Slides>
  <Notes>8</Notes>
  <HiddenSlides>0</HiddenSlides>
  <MMClips>0</MMClips>
  <ScaleCrop>false</ScaleCrop>
  <HeadingPairs>
    <vt:vector size="8" baseType="variant">
      <vt:variant>
        <vt:lpstr>Benyttede skrifttyper</vt:lpstr>
      </vt:variant>
      <vt:variant>
        <vt:i4>4</vt:i4>
      </vt:variant>
      <vt:variant>
        <vt:lpstr>Tema</vt:lpstr>
      </vt:variant>
      <vt:variant>
        <vt:i4>8</vt:i4>
      </vt:variant>
      <vt:variant>
        <vt:lpstr>Integrerede OLE-servere</vt:lpstr>
      </vt:variant>
      <vt:variant>
        <vt:i4>2</vt:i4>
      </vt:variant>
      <vt:variant>
        <vt:lpstr>Slidetitler</vt:lpstr>
      </vt:variant>
      <vt:variant>
        <vt:i4>8</vt:i4>
      </vt:variant>
    </vt:vector>
  </HeadingPairs>
  <TitlesOfParts>
    <vt:vector size="22" baseType="lpstr">
      <vt:lpstr>Arial</vt:lpstr>
      <vt:lpstr>Calibri</vt:lpstr>
      <vt:lpstr>Verdana</vt:lpstr>
      <vt:lpstr>Wingdings</vt:lpstr>
      <vt:lpstr>Hærkommandoen-DK</vt:lpstr>
      <vt:lpstr>FKO</vt:lpstr>
      <vt:lpstr>5_FMN (PowerPoint)</vt:lpstr>
      <vt:lpstr>1_FMN (PowerPoint)</vt:lpstr>
      <vt:lpstr>8_Hærkommandoen-DK</vt:lpstr>
      <vt:lpstr>2_FKO</vt:lpstr>
      <vt:lpstr>FMN (PowerPoint)</vt:lpstr>
      <vt:lpstr>10_FKO</vt:lpstr>
      <vt:lpstr>think-cell Slide</vt:lpstr>
      <vt:lpstr>Designer Drawing</vt:lpstr>
      <vt:lpstr>FAK Uddannelseskonference 2025</vt:lpstr>
      <vt:lpstr>Befalingsmandsuddannelse i Hæren</vt:lpstr>
      <vt:lpstr>Befalingsmandsuddannelse i Hæren</vt:lpstr>
      <vt:lpstr>Befalingsmandsuddannelse i Hæren</vt:lpstr>
      <vt:lpstr>Befalingsmandsuddannelse i Hæren</vt:lpstr>
      <vt:lpstr>Befalingsmandsuddannelse i Hæren</vt:lpstr>
      <vt:lpstr>Uddannelses progression for befalingsmanden</vt:lpstr>
      <vt:lpstr>Q &amp; A</vt:lpstr>
    </vt:vector>
  </TitlesOfParts>
  <Company>Forsvar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æsentation forside - Verdana 37/43</dc:title>
  <dc:creator>FKO-H-CHMA Christensen, Rasmus Carøe</dc:creator>
  <cp:lastModifiedBy>FKO-H-HBM Mølgaard, Jesper Madsen</cp:lastModifiedBy>
  <cp:revision>212</cp:revision>
  <cp:lastPrinted>2025-02-04T05:24:49Z</cp:lastPrinted>
  <dcterms:created xsi:type="dcterms:W3CDTF">2022-11-09T12:26:25Z</dcterms:created>
  <dcterms:modified xsi:type="dcterms:W3CDTF">2025-02-04T05:5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370a4d09-1fb9-4332-a89c-ed39e8869215</vt:lpwstr>
  </property>
  <property fmtid="{D5CDD505-2E9C-101B-9397-08002B2CF9AE}" pid="3" name="OriginatingUser">
    <vt:lpwstr>FKO-H-CHMA</vt:lpwstr>
  </property>
  <property fmtid="{D5CDD505-2E9C-101B-9397-08002B2CF9AE}" pid="4" name="Klassifikation">
    <vt:lpwstr>IKKE KLASSIFICERET</vt:lpwstr>
  </property>
  <property fmtid="{D5CDD505-2E9C-101B-9397-08002B2CF9AE}" pid="5" name="Maerkning">
    <vt:lpwstr/>
  </property>
</Properties>
</file>